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media/image27.jpg" ContentType="image/jpg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91" r:id="rId3"/>
    <p:sldMasterId id="2147483710" r:id="rId4"/>
  </p:sldMasterIdLst>
  <p:notesMasterIdLst>
    <p:notesMasterId r:id="rId15"/>
  </p:notesMasterIdLst>
  <p:sldIdLst>
    <p:sldId id="268" r:id="rId5"/>
    <p:sldId id="258" r:id="rId6"/>
    <p:sldId id="261" r:id="rId7"/>
    <p:sldId id="259" r:id="rId8"/>
    <p:sldId id="263" r:id="rId9"/>
    <p:sldId id="262" r:id="rId10"/>
    <p:sldId id="265" r:id="rId11"/>
    <p:sldId id="266" r:id="rId12"/>
    <p:sldId id="267" r:id="rId13"/>
    <p:sldId id="269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9" d="100"/>
          <a:sy n="69" d="100"/>
        </p:scale>
        <p:origin x="56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E503AF-58B0-46C4-95A6-8B1071650BB0}" type="datetimeFigureOut">
              <a:rPr lang="en-US" smtClean="0"/>
              <a:t>9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46F126-50B9-41FF-BC4C-4D59385A06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5699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3422" indent="-173422">
              <a:buFont typeface="Arial" panose="020B0604020202020204" pitchFamily="34" charset="0"/>
              <a:buChar char="•"/>
            </a:pPr>
            <a:endParaRPr lang="en-US" baseline="0" dirty="0" smtClean="0"/>
          </a:p>
          <a:p>
            <a:pPr marL="173422" indent="-173422">
              <a:buFont typeface="Arial" panose="020B0604020202020204" pitchFamily="34" charset="0"/>
              <a:buChar char="•"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201855-4403-4CBB-9BA3-B4B50D1127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99356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Google Shape;1028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029" name="Google Shape;1029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9112808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lide to be</a:t>
            </a:r>
            <a:r>
              <a:rPr lang="en-US" baseline="0" dirty="0"/>
              <a:t> updated for consistency across 5 webina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6291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781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6250" y="681038"/>
            <a:ext cx="6057900" cy="34067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018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0942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6574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6708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Google Shape;1028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029" name="Google Shape;1029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635614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NULL"/><Relationship Id="rId4" Type="http://schemas.openxmlformats.org/officeDocument/2006/relationships/image" Target="../media/image4.png"/><Relationship Id="rId9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png"/><Relationship Id="rId7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NULL"/><Relationship Id="rId10" Type="http://schemas.openxmlformats.org/officeDocument/2006/relationships/image" Target="../media/image11.png"/><Relationship Id="rId4" Type="http://schemas.openxmlformats.org/officeDocument/2006/relationships/image" Target="../media/image4.png"/><Relationship Id="rId9" Type="http://schemas.openxmlformats.org/officeDocument/2006/relationships/image" Target="NUL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NULL"/><Relationship Id="rId4" Type="http://schemas.openxmlformats.org/officeDocument/2006/relationships/image" Target="../media/image4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png"/><Relationship Id="rId7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NULL"/><Relationship Id="rId10" Type="http://schemas.openxmlformats.org/officeDocument/2006/relationships/image" Target="../media/image11.png"/><Relationship Id="rId4" Type="http://schemas.openxmlformats.org/officeDocument/2006/relationships/image" Target="../media/image4.png"/><Relationship Id="rId9" Type="http://schemas.openxmlformats.org/officeDocument/2006/relationships/image" Target="NUL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NULL"/><Relationship Id="rId4" Type="http://schemas.openxmlformats.org/officeDocument/2006/relationships/image" Target="../media/image4.png"/><Relationship Id="rId9" Type="http://schemas.openxmlformats.org/officeDocument/2006/relationships/image" Target="../media/image11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NULL"/><Relationship Id="rId4" Type="http://schemas.openxmlformats.org/officeDocument/2006/relationships/image" Target="../media/image4.png"/><Relationship Id="rId9" Type="http://schemas.openxmlformats.org/officeDocument/2006/relationships/image" Target="../media/image7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NULL"/><Relationship Id="rId10" Type="http://schemas.openxmlformats.org/officeDocument/2006/relationships/image" Target="../media/image11.png"/><Relationship Id="rId4" Type="http://schemas.openxmlformats.org/officeDocument/2006/relationships/image" Target="../media/image4.png"/><Relationship Id="rId9" Type="http://schemas.openxmlformats.org/officeDocument/2006/relationships/image" Target="NUL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NULL"/><Relationship Id="rId7" Type="http://schemas.openxmlformats.org/officeDocument/2006/relationships/image" Target="NUL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4.png"/><Relationship Id="rId9" Type="http://schemas.openxmlformats.org/officeDocument/2006/relationships/image" Target="../media/image1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D2CA9-4A4A-479D-8A6D-DB9B26D72CD9}" type="datetimeFigureOut">
              <a:rPr lang="en-US" smtClean="0"/>
              <a:t>9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B2140-45F9-443B-BAD4-5C52E792A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2905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D2CA9-4A4A-479D-8A6D-DB9B26D72CD9}" type="datetimeFigureOut">
              <a:rPr lang="en-US" smtClean="0"/>
              <a:t>9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B2140-45F9-443B-BAD4-5C52E792A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1105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D2CA9-4A4A-479D-8A6D-DB9B26D72CD9}" type="datetimeFigureOut">
              <a:rPr lang="en-US" smtClean="0"/>
              <a:t>9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B2140-45F9-443B-BAD4-5C52E792A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100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700" cy="27369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1pPr>
            <a:lvl2pPr lvl="1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2pPr>
            <a:lvl3pPr lvl="2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3pPr>
            <a:lvl4pPr lvl="3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4pPr>
            <a:lvl5pPr lvl="4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5pPr>
            <a:lvl6pPr lvl="5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6pPr>
            <a:lvl7pPr lvl="6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7pPr>
            <a:lvl8pPr lvl="7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8pPr>
            <a:lvl9pPr lvl="8" algn="ctr">
              <a:spcBef>
                <a:spcPts val="0"/>
              </a:spcBef>
              <a:spcAft>
                <a:spcPts val="0"/>
              </a:spcAft>
              <a:buSzPts val="6900"/>
              <a:buNone/>
              <a:defRPr sz="6900"/>
            </a:lvl9pPr>
          </a:lstStyle>
          <a:p>
            <a:endParaRPr/>
          </a:p>
        </p:txBody>
      </p:sp>
      <p:sp>
        <p:nvSpPr>
          <p:cNvPr id="15" name="Google Shape;15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700" cy="10569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700"/>
              <a:buNone/>
              <a:defRPr sz="3700"/>
            </a:lvl9pPr>
          </a:lstStyle>
          <a:p>
            <a:endParaRPr/>
          </a:p>
        </p:txBody>
      </p:sp>
      <p:sp>
        <p:nvSpPr>
          <p:cNvPr id="16" name="Google Shape;16;p2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377034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700" cy="455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marL="457200" lvl="0" indent="-38100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1pPr>
            <a:lvl2pPr marL="914400" lvl="1" indent="-349250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2pPr>
            <a:lvl3pPr marL="1371600" lvl="2" indent="-349250"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3pPr>
            <a:lvl4pPr marL="1828800" lvl="3" indent="-349250"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4pPr>
            <a:lvl5pPr marL="2286000" lvl="4" indent="-349250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5pPr>
            <a:lvl6pPr marL="2743200" lvl="5" indent="-349250"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6pPr>
            <a:lvl7pPr marL="3200400" lvl="6" indent="-349250"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7pPr>
            <a:lvl8pPr marL="3657600" lvl="7" indent="-349250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8pPr>
            <a:lvl9pPr marL="4114800" lvl="8" indent="-349250">
              <a:spcBef>
                <a:spcPts val="2100"/>
              </a:spcBef>
              <a:spcAft>
                <a:spcPts val="2100"/>
              </a:spcAft>
              <a:buSzPts val="1900"/>
              <a:buChar char="■"/>
              <a:defRPr/>
            </a:lvl9pPr>
          </a:lstStyle>
          <a:p>
            <a:endParaRPr/>
          </a:p>
        </p:txBody>
      </p:sp>
      <p:sp>
        <p:nvSpPr>
          <p:cNvPr id="23" name="Google Shape;23;p4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813935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100" cy="455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marL="457200" lvl="0" indent="-349250">
              <a:spcBef>
                <a:spcPts val="0"/>
              </a:spcBef>
              <a:spcAft>
                <a:spcPts val="0"/>
              </a:spcAft>
              <a:buSzPts val="1900"/>
              <a:buChar char="●"/>
              <a:defRPr sz="1900"/>
            </a:lvl1pPr>
            <a:lvl2pPr marL="914400" lvl="1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2pPr>
            <a:lvl3pPr marL="1371600" lvl="2" indent="-330200">
              <a:spcBef>
                <a:spcPts val="2100"/>
              </a:spcBef>
              <a:spcAft>
                <a:spcPts val="0"/>
              </a:spcAft>
              <a:buSzPts val="1600"/>
              <a:buChar char="■"/>
              <a:defRPr sz="1600"/>
            </a:lvl3pPr>
            <a:lvl4pPr marL="1828800" lvl="3" indent="-330200">
              <a:spcBef>
                <a:spcPts val="2100"/>
              </a:spcBef>
              <a:spcAft>
                <a:spcPts val="0"/>
              </a:spcAft>
              <a:buSzPts val="1600"/>
              <a:buChar char="●"/>
              <a:defRPr sz="1600"/>
            </a:lvl4pPr>
            <a:lvl5pPr marL="2286000" lvl="4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5pPr>
            <a:lvl6pPr marL="2743200" lvl="5" indent="-330200">
              <a:spcBef>
                <a:spcPts val="2100"/>
              </a:spcBef>
              <a:spcAft>
                <a:spcPts val="0"/>
              </a:spcAft>
              <a:buSzPts val="1600"/>
              <a:buChar char="■"/>
              <a:defRPr sz="1600"/>
            </a:lvl6pPr>
            <a:lvl7pPr marL="3200400" lvl="6" indent="-330200">
              <a:spcBef>
                <a:spcPts val="210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>
              <a:spcBef>
                <a:spcPts val="2100"/>
              </a:spcBef>
              <a:spcAft>
                <a:spcPts val="2100"/>
              </a:spcAft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100" cy="455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marL="457200" lvl="0" indent="-349250">
              <a:spcBef>
                <a:spcPts val="0"/>
              </a:spcBef>
              <a:spcAft>
                <a:spcPts val="0"/>
              </a:spcAft>
              <a:buSzPts val="1900"/>
              <a:buChar char="●"/>
              <a:defRPr sz="1900"/>
            </a:lvl1pPr>
            <a:lvl2pPr marL="914400" lvl="1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2pPr>
            <a:lvl3pPr marL="1371600" lvl="2" indent="-330200">
              <a:spcBef>
                <a:spcPts val="2100"/>
              </a:spcBef>
              <a:spcAft>
                <a:spcPts val="0"/>
              </a:spcAft>
              <a:buSzPts val="1600"/>
              <a:buChar char="■"/>
              <a:defRPr sz="1600"/>
            </a:lvl3pPr>
            <a:lvl4pPr marL="1828800" lvl="3" indent="-330200">
              <a:spcBef>
                <a:spcPts val="2100"/>
              </a:spcBef>
              <a:spcAft>
                <a:spcPts val="0"/>
              </a:spcAft>
              <a:buSzPts val="1600"/>
              <a:buChar char="●"/>
              <a:defRPr sz="1600"/>
            </a:lvl4pPr>
            <a:lvl5pPr marL="2286000" lvl="4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5pPr>
            <a:lvl6pPr marL="2743200" lvl="5" indent="-330200">
              <a:spcBef>
                <a:spcPts val="2100"/>
              </a:spcBef>
              <a:spcAft>
                <a:spcPts val="0"/>
              </a:spcAft>
              <a:buSzPts val="1600"/>
              <a:buChar char="■"/>
              <a:defRPr sz="1600"/>
            </a:lvl6pPr>
            <a:lvl7pPr marL="3200400" lvl="6" indent="-330200">
              <a:spcBef>
                <a:spcPts val="210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>
              <a:spcBef>
                <a:spcPts val="2100"/>
              </a:spcBef>
              <a:spcAft>
                <a:spcPts val="2100"/>
              </a:spcAft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28" name="Google Shape;28;p5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12918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7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34" name="Google Shape;34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3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marL="457200" lvl="0" indent="-33020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600"/>
            </a:lvl1pPr>
            <a:lvl2pPr marL="914400" lvl="1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2pPr>
            <a:lvl3pPr marL="1371600" lvl="2" indent="-330200">
              <a:spcBef>
                <a:spcPts val="2100"/>
              </a:spcBef>
              <a:spcAft>
                <a:spcPts val="0"/>
              </a:spcAft>
              <a:buSzPts val="1600"/>
              <a:buChar char="■"/>
              <a:defRPr sz="1600"/>
            </a:lvl3pPr>
            <a:lvl4pPr marL="1828800" lvl="3" indent="-330200">
              <a:spcBef>
                <a:spcPts val="2100"/>
              </a:spcBef>
              <a:spcAft>
                <a:spcPts val="0"/>
              </a:spcAft>
              <a:buSzPts val="1600"/>
              <a:buChar char="●"/>
              <a:defRPr sz="1600"/>
            </a:lvl4pPr>
            <a:lvl5pPr marL="2286000" lvl="4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5pPr>
            <a:lvl6pPr marL="2743200" lvl="5" indent="-330200">
              <a:spcBef>
                <a:spcPts val="2100"/>
              </a:spcBef>
              <a:spcAft>
                <a:spcPts val="0"/>
              </a:spcAft>
              <a:buSzPts val="1600"/>
              <a:buChar char="■"/>
              <a:defRPr sz="1600"/>
            </a:lvl6pPr>
            <a:lvl7pPr marL="3200400" lvl="6" indent="-330200">
              <a:spcBef>
                <a:spcPts val="210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>
              <a:spcBef>
                <a:spcPts val="2100"/>
              </a:spcBef>
              <a:spcAft>
                <a:spcPts val="2100"/>
              </a:spcAft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35" name="Google Shape;35;p7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53072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300" cy="54543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6400"/>
              <a:buNone/>
              <a:defRPr sz="6400"/>
            </a:lvl9pPr>
          </a:lstStyle>
          <a:p>
            <a:endParaRPr/>
          </a:p>
        </p:txBody>
      </p:sp>
      <p:sp>
        <p:nvSpPr>
          <p:cNvPr id="38" name="Google Shape;38;p8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83864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" name="Google Shape;41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700" cy="19764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9pPr>
          </a:lstStyle>
          <a:p>
            <a:endParaRPr/>
          </a:p>
        </p:txBody>
      </p:sp>
      <p:sp>
        <p:nvSpPr>
          <p:cNvPr id="42" name="Google Shape;42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700" cy="16467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43" name="Google Shape;43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5900" cy="49269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marL="457200" lvl="0" indent="-38100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1pPr>
            <a:lvl2pPr marL="914400" lvl="1" indent="-349250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2pPr>
            <a:lvl3pPr marL="1371600" lvl="2" indent="-349250"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3pPr>
            <a:lvl4pPr marL="1828800" lvl="3" indent="-349250"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4pPr>
            <a:lvl5pPr marL="2286000" lvl="4" indent="-349250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5pPr>
            <a:lvl6pPr marL="2743200" lvl="5" indent="-349250"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6pPr>
            <a:lvl7pPr marL="3200400" lvl="6" indent="-349250"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7pPr>
            <a:lvl8pPr marL="3657600" lvl="7" indent="-349250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8pPr>
            <a:lvl9pPr marL="4114800" lvl="8" indent="-349250">
              <a:spcBef>
                <a:spcPts val="2100"/>
              </a:spcBef>
              <a:spcAft>
                <a:spcPts val="2100"/>
              </a:spcAft>
              <a:buSzPts val="19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9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187565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300" cy="806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1pPr>
          </a:lstStyle>
          <a:p>
            <a:endParaRPr/>
          </a:p>
        </p:txBody>
      </p:sp>
      <p:sp>
        <p:nvSpPr>
          <p:cNvPr id="47" name="Google Shape;47;p10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830266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700" cy="26181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6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50" name="Google Shape;50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700" cy="17343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marL="457200" lvl="0" indent="-381000" algn="ctr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1pPr>
            <a:lvl2pPr marL="914400" lvl="1" indent="-349250" algn="ctr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2pPr>
            <a:lvl3pPr marL="1371600" lvl="2" indent="-349250" algn="ctr"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3pPr>
            <a:lvl4pPr marL="1828800" lvl="3" indent="-349250" algn="ctr"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4pPr>
            <a:lvl5pPr marL="2286000" lvl="4" indent="-349250" algn="ctr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5pPr>
            <a:lvl6pPr marL="2743200" lvl="5" indent="-349250" algn="ctr"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6pPr>
            <a:lvl7pPr marL="3200400" lvl="6" indent="-349250" algn="ctr"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7pPr>
            <a:lvl8pPr marL="3657600" lvl="7" indent="-349250" algn="ctr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8pPr>
            <a:lvl9pPr marL="4114800" lvl="8" indent="-349250" algn="ctr">
              <a:spcBef>
                <a:spcPts val="2100"/>
              </a:spcBef>
              <a:spcAft>
                <a:spcPts val="2100"/>
              </a:spcAft>
              <a:buSzPts val="1900"/>
              <a:buChar char="■"/>
              <a:defRPr/>
            </a:lvl9pPr>
          </a:lstStyle>
          <a:p>
            <a:endParaRPr/>
          </a:p>
        </p:txBody>
      </p:sp>
      <p:sp>
        <p:nvSpPr>
          <p:cNvPr id="51" name="Google Shape;51;p11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707527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D2CA9-4A4A-479D-8A6D-DB9B26D72CD9}" type="datetimeFigureOut">
              <a:rPr lang="en-US" smtClean="0"/>
              <a:t>9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B2140-45F9-443B-BAD4-5C52E792A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4005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with Image">
  <p:cSld name="Title Slide with Imag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3"/>
          <p:cNvSpPr>
            <a:spLocks noGrp="1"/>
          </p:cNvSpPr>
          <p:nvPr>
            <p:ph type="pic" idx="2"/>
          </p:nvPr>
        </p:nvSpPr>
        <p:spPr>
          <a:xfrm>
            <a:off x="86715" y="86714"/>
            <a:ext cx="12018600" cy="66846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360000" tIns="36000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100"/>
              <a:buFont typeface="Arial"/>
              <a:buNone/>
              <a:defRPr sz="1100" b="0" i="1" u="none" strike="noStrike" cap="none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6" name="Google Shape;56;p13"/>
          <p:cNvSpPr txBox="1">
            <a:spLocks noGrp="1"/>
          </p:cNvSpPr>
          <p:nvPr>
            <p:ph type="ctrTitle"/>
          </p:nvPr>
        </p:nvSpPr>
        <p:spPr>
          <a:xfrm>
            <a:off x="0" y="1768422"/>
            <a:ext cx="6840000" cy="2387700"/>
          </a:xfrm>
          <a:prstGeom prst="rect">
            <a:avLst/>
          </a:prstGeom>
          <a:solidFill>
            <a:schemeClr val="dk1">
              <a:alpha val="80000"/>
            </a:schemeClr>
          </a:solidFill>
          <a:ln>
            <a:noFill/>
          </a:ln>
        </p:spPr>
        <p:txBody>
          <a:bodyPr spcFirstLastPara="1" wrap="square" lIns="432000" tIns="0" rIns="432000" bIns="1440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Font typeface="Rockwell"/>
              <a:buNone/>
              <a:defRPr sz="42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13"/>
          <p:cNvSpPr txBox="1">
            <a:spLocks noGrp="1"/>
          </p:cNvSpPr>
          <p:nvPr>
            <p:ph type="subTitle" idx="1"/>
          </p:nvPr>
        </p:nvSpPr>
        <p:spPr>
          <a:xfrm>
            <a:off x="0" y="4153578"/>
            <a:ext cx="6840000" cy="936000"/>
          </a:xfrm>
          <a:prstGeom prst="rect">
            <a:avLst/>
          </a:prstGeom>
          <a:solidFill>
            <a:schemeClr val="dk1">
              <a:alpha val="89800"/>
            </a:schemeClr>
          </a:solidFill>
          <a:ln>
            <a:noFill/>
          </a:ln>
        </p:spPr>
        <p:txBody>
          <a:bodyPr spcFirstLastPara="1" wrap="square" lIns="432000" tIns="144000" rIns="0" bIns="0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sz="2100">
                <a:solidFill>
                  <a:schemeClr val="lt1"/>
                </a:solidFill>
              </a:defRPr>
            </a:lvl1pPr>
            <a:lvl2pPr lvl="1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2000"/>
              <a:buNone/>
              <a:defRPr sz="2000"/>
            </a:lvl2pPr>
            <a:lvl3pPr lvl="2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 sz="1800"/>
            </a:lvl3pPr>
            <a:lvl4pPr lvl="3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600"/>
              <a:buNone/>
              <a:defRPr sz="1600"/>
            </a:lvl4pPr>
            <a:lvl5pPr lvl="4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6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117286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85108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3 x Image Bullets Left">
  <p:cSld name="1_3 x Image Bullets Left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15"/>
          <p:cNvSpPr/>
          <p:nvPr/>
        </p:nvSpPr>
        <p:spPr>
          <a:xfrm>
            <a:off x="3050592" y="2030748"/>
            <a:ext cx="1508700" cy="15087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" name="Google Shape;66;p15"/>
          <p:cNvSpPr/>
          <p:nvPr/>
        </p:nvSpPr>
        <p:spPr>
          <a:xfrm>
            <a:off x="5345060" y="2030748"/>
            <a:ext cx="1508700" cy="15087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" name="Google Shape;67;p15"/>
          <p:cNvSpPr/>
          <p:nvPr/>
        </p:nvSpPr>
        <p:spPr>
          <a:xfrm>
            <a:off x="759111" y="2030748"/>
            <a:ext cx="1508700" cy="1508700"/>
          </a:xfrm>
          <a:prstGeom prst="ellipse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" name="Google Shape;68;p15"/>
          <p:cNvSpPr>
            <a:spLocks noGrp="1"/>
          </p:cNvSpPr>
          <p:nvPr>
            <p:ph type="pic" idx="2"/>
          </p:nvPr>
        </p:nvSpPr>
        <p:spPr>
          <a:xfrm>
            <a:off x="1086454" y="2358091"/>
            <a:ext cx="854100" cy="8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" name="Google Shape;69;p15"/>
          <p:cNvSpPr>
            <a:spLocks noGrp="1"/>
          </p:cNvSpPr>
          <p:nvPr>
            <p:ph type="pic" idx="3"/>
          </p:nvPr>
        </p:nvSpPr>
        <p:spPr>
          <a:xfrm>
            <a:off x="3380176" y="2358091"/>
            <a:ext cx="854100" cy="8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0" name="Google Shape;70;p15"/>
          <p:cNvSpPr>
            <a:spLocks noGrp="1"/>
          </p:cNvSpPr>
          <p:nvPr>
            <p:ph type="pic" idx="4"/>
          </p:nvPr>
        </p:nvSpPr>
        <p:spPr>
          <a:xfrm>
            <a:off x="5673898" y="2358091"/>
            <a:ext cx="854100" cy="8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" name="Google Shape;71;p15"/>
          <p:cNvSpPr/>
          <p:nvPr/>
        </p:nvSpPr>
        <p:spPr>
          <a:xfrm>
            <a:off x="7632650" y="86714"/>
            <a:ext cx="4472700" cy="6684600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100000">
                <a:srgbClr val="000000">
                  <a:alpha val="30980"/>
                </a:srgbClr>
              </a:gs>
            </a:gsLst>
            <a:lin ang="12600029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" name="Google Shape;72;p15"/>
          <p:cNvSpPr>
            <a:spLocks noGrp="1"/>
          </p:cNvSpPr>
          <p:nvPr>
            <p:ph type="pic" idx="5"/>
          </p:nvPr>
        </p:nvSpPr>
        <p:spPr>
          <a:xfrm>
            <a:off x="7632650" y="86714"/>
            <a:ext cx="4472700" cy="64785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100"/>
              <a:buFont typeface="Arial"/>
              <a:buNone/>
              <a:defRPr sz="1100" b="0" i="1" u="none" strike="noStrike" cap="none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Google Shape;73;p15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200"/>
              <a:buFont typeface="Rockwell"/>
              <a:buNone/>
              <a:defRPr>
                <a:solidFill>
                  <a:srgbClr val="3F3F3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5"/>
          <p:cNvSpPr txBox="1">
            <a:spLocks noGrp="1"/>
          </p:cNvSpPr>
          <p:nvPr>
            <p:ph type="ftr" idx="11"/>
          </p:nvPr>
        </p:nvSpPr>
        <p:spPr>
          <a:xfrm>
            <a:off x="431999" y="6188628"/>
            <a:ext cx="878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3F3F3F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15"/>
          <p:cNvSpPr txBox="1">
            <a:spLocks noGrp="1"/>
          </p:cNvSpPr>
          <p:nvPr>
            <p:ph type="body" idx="1"/>
          </p:nvPr>
        </p:nvSpPr>
        <p:spPr>
          <a:xfrm>
            <a:off x="2726075" y="4688112"/>
            <a:ext cx="2160600" cy="9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600"/>
              <a:buNone/>
              <a:defRPr sz="1600"/>
            </a:lvl1pPr>
            <a:lvl2pPr marL="914400" lvl="1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■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●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76" name="Google Shape;76;p15"/>
          <p:cNvSpPr txBox="1">
            <a:spLocks noGrp="1"/>
          </p:cNvSpPr>
          <p:nvPr>
            <p:ph type="body" idx="6"/>
          </p:nvPr>
        </p:nvSpPr>
        <p:spPr>
          <a:xfrm>
            <a:off x="5020543" y="4688112"/>
            <a:ext cx="2160600" cy="9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600"/>
              <a:buNone/>
              <a:defRPr sz="1600"/>
            </a:lvl1pPr>
            <a:lvl2pPr marL="914400" lvl="1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■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●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77" name="Google Shape;77;p15"/>
          <p:cNvSpPr txBox="1">
            <a:spLocks noGrp="1"/>
          </p:cNvSpPr>
          <p:nvPr>
            <p:ph type="body" idx="7"/>
          </p:nvPr>
        </p:nvSpPr>
        <p:spPr>
          <a:xfrm>
            <a:off x="431800" y="3926334"/>
            <a:ext cx="2160000" cy="5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 b="1">
                <a:latin typeface="Rockwell"/>
                <a:ea typeface="Rockwell"/>
                <a:cs typeface="Rockwell"/>
                <a:sym typeface="Rockwell"/>
              </a:defRPr>
            </a:lvl1pPr>
            <a:lvl2pPr marL="914400" lvl="1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■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●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78" name="Google Shape;78;p15"/>
          <p:cNvSpPr txBox="1">
            <a:spLocks noGrp="1"/>
          </p:cNvSpPr>
          <p:nvPr>
            <p:ph type="body" idx="8"/>
          </p:nvPr>
        </p:nvSpPr>
        <p:spPr>
          <a:xfrm>
            <a:off x="2726076" y="3926335"/>
            <a:ext cx="2160600" cy="5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 b="1">
                <a:latin typeface="Rockwell"/>
                <a:ea typeface="Rockwell"/>
                <a:cs typeface="Rockwell"/>
                <a:sym typeface="Rockwell"/>
              </a:defRPr>
            </a:lvl1pPr>
            <a:lvl2pPr marL="914400" lvl="1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■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●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79" name="Google Shape;79;p15"/>
          <p:cNvSpPr txBox="1">
            <a:spLocks noGrp="1"/>
          </p:cNvSpPr>
          <p:nvPr>
            <p:ph type="body" idx="9"/>
          </p:nvPr>
        </p:nvSpPr>
        <p:spPr>
          <a:xfrm>
            <a:off x="5020543" y="3926335"/>
            <a:ext cx="2160600" cy="50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 b="1">
                <a:latin typeface="Rockwell"/>
                <a:ea typeface="Rockwell"/>
                <a:cs typeface="Rockwell"/>
                <a:sym typeface="Rockwell"/>
              </a:defRPr>
            </a:lvl1pPr>
            <a:lvl2pPr marL="914400" lvl="1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■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●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80" name="Google Shape;80;p15"/>
          <p:cNvSpPr txBox="1">
            <a:spLocks noGrp="1"/>
          </p:cNvSpPr>
          <p:nvPr>
            <p:ph type="body" idx="13"/>
          </p:nvPr>
        </p:nvSpPr>
        <p:spPr>
          <a:xfrm>
            <a:off x="432094" y="4683350"/>
            <a:ext cx="2160000" cy="9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600"/>
              <a:buNone/>
              <a:defRPr sz="1600"/>
            </a:lvl1pPr>
            <a:lvl2pPr marL="914400" lvl="1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■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●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81" name="Google Shape;81;p15"/>
          <p:cNvSpPr/>
          <p:nvPr/>
        </p:nvSpPr>
        <p:spPr>
          <a:xfrm rot="1361192">
            <a:off x="11394972" y="6053788"/>
            <a:ext cx="634708" cy="634708"/>
          </a:xfrm>
          <a:prstGeom prst="octagon">
            <a:avLst>
              <a:gd name="adj" fmla="val 29289"/>
            </a:avLst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" name="Google Shape;82;p15"/>
          <p:cNvSpPr/>
          <p:nvPr/>
        </p:nvSpPr>
        <p:spPr>
          <a:xfrm>
            <a:off x="11533871" y="6185902"/>
            <a:ext cx="73500" cy="73500"/>
          </a:xfrm>
          <a:prstGeom prst="ellipse">
            <a:avLst/>
          </a:prstGeom>
          <a:solidFill>
            <a:srgbClr val="C1DF8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" name="Google Shape;83;p15"/>
          <p:cNvSpPr/>
          <p:nvPr/>
        </p:nvSpPr>
        <p:spPr>
          <a:xfrm>
            <a:off x="11892084" y="6561525"/>
            <a:ext cx="100500" cy="100500"/>
          </a:xfrm>
          <a:prstGeom prst="ellipse">
            <a:avLst/>
          </a:prstGeom>
          <a:solidFill>
            <a:srgbClr val="749A2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" name="Google Shape;84;p15"/>
          <p:cNvSpPr/>
          <p:nvPr/>
        </p:nvSpPr>
        <p:spPr>
          <a:xfrm>
            <a:off x="11342875" y="5990144"/>
            <a:ext cx="260400" cy="260400"/>
          </a:xfrm>
          <a:prstGeom prst="ellipse">
            <a:avLst/>
          </a:prstGeom>
          <a:noFill/>
          <a:ln w="9525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" name="Google Shape;85;p15"/>
          <p:cNvSpPr>
            <a:spLocks noGrp="1"/>
          </p:cNvSpPr>
          <p:nvPr>
            <p:ph type="sldNum" idx="12"/>
          </p:nvPr>
        </p:nvSpPr>
        <p:spPr>
          <a:xfrm>
            <a:off x="11496369" y="6155190"/>
            <a:ext cx="432000" cy="432000"/>
          </a:xfrm>
          <a:prstGeom prst="ellipse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ctr" rtl="0">
              <a:spcBef>
                <a:spcPts val="0"/>
              </a:spcBef>
              <a:buNone/>
              <a:defRPr/>
            </a:lvl1pPr>
            <a:lvl2pPr marL="0" lvl="1" indent="0" algn="ctr" rtl="0">
              <a:spcBef>
                <a:spcPts val="0"/>
              </a:spcBef>
              <a:buNone/>
              <a:defRPr/>
            </a:lvl2pPr>
            <a:lvl3pPr marL="0" lvl="2" indent="0" algn="ctr" rtl="0">
              <a:spcBef>
                <a:spcPts val="0"/>
              </a:spcBef>
              <a:buNone/>
              <a:defRPr/>
            </a:lvl3pPr>
            <a:lvl4pPr marL="0" lvl="3" indent="0" algn="ctr" rtl="0">
              <a:spcBef>
                <a:spcPts val="0"/>
              </a:spcBef>
              <a:buNone/>
              <a:defRPr/>
            </a:lvl4pPr>
            <a:lvl5pPr marL="0" lvl="4" indent="0" algn="ctr" rtl="0">
              <a:spcBef>
                <a:spcPts val="0"/>
              </a:spcBef>
              <a:buNone/>
              <a:defRPr/>
            </a:lvl5pPr>
            <a:lvl6pPr marL="0" lvl="5" indent="0" algn="ctr" rtl="0">
              <a:spcBef>
                <a:spcPts val="0"/>
              </a:spcBef>
              <a:buNone/>
              <a:defRPr/>
            </a:lvl6pPr>
            <a:lvl7pPr marL="0" lvl="6" indent="0" algn="ctr" rtl="0">
              <a:spcBef>
                <a:spcPts val="0"/>
              </a:spcBef>
              <a:buNone/>
              <a:defRPr/>
            </a:lvl7pPr>
            <a:lvl8pPr marL="0" lvl="7" indent="0" algn="ctr" rtl="0">
              <a:spcBef>
                <a:spcPts val="0"/>
              </a:spcBef>
              <a:buNone/>
              <a:defRPr/>
            </a:lvl8pPr>
            <a:lvl9pPr marL="0" lvl="8" indent="0" algn="ctr" rtl="0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" name="Google Shape;86;p15" descr="First divider line on slide"/>
          <p:cNvCxnSpPr/>
          <p:nvPr/>
        </p:nvCxnSpPr>
        <p:spPr>
          <a:xfrm>
            <a:off x="2659047" y="2052013"/>
            <a:ext cx="0" cy="1487400"/>
          </a:xfrm>
          <a:prstGeom prst="straightConnector1">
            <a:avLst/>
          </a:prstGeom>
          <a:noFill/>
          <a:ln w="9525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87" name="Google Shape;87;p15" descr="Second divider line on slide"/>
          <p:cNvCxnSpPr/>
          <p:nvPr/>
        </p:nvCxnSpPr>
        <p:spPr>
          <a:xfrm>
            <a:off x="4953541" y="2052013"/>
            <a:ext cx="0" cy="1487400"/>
          </a:xfrm>
          <a:prstGeom prst="straightConnector1">
            <a:avLst/>
          </a:prstGeom>
          <a:noFill/>
          <a:ln w="9525" cap="flat" cmpd="sng">
            <a:solidFill>
              <a:srgbClr val="F2F2F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6191291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1_Title Slide"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17"/>
          <p:cNvSpPr txBox="1">
            <a:spLocks noGrp="1"/>
          </p:cNvSpPr>
          <p:nvPr>
            <p:ph type="ctrTitle"/>
          </p:nvPr>
        </p:nvSpPr>
        <p:spPr>
          <a:xfrm>
            <a:off x="0" y="1768422"/>
            <a:ext cx="6840000" cy="2387700"/>
          </a:xfrm>
          <a:prstGeom prst="rect">
            <a:avLst/>
          </a:prstGeom>
          <a:solidFill>
            <a:schemeClr val="dk1">
              <a:alpha val="80000"/>
            </a:schemeClr>
          </a:solidFill>
          <a:ln>
            <a:noFill/>
          </a:ln>
        </p:spPr>
        <p:txBody>
          <a:bodyPr spcFirstLastPara="1" wrap="square" lIns="432000" tIns="0" rIns="432000" bIns="144000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200"/>
              <a:buFont typeface="Rockwell"/>
              <a:buNone/>
              <a:defRPr sz="42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17"/>
          <p:cNvSpPr txBox="1">
            <a:spLocks noGrp="1"/>
          </p:cNvSpPr>
          <p:nvPr>
            <p:ph type="subTitle" idx="1"/>
          </p:nvPr>
        </p:nvSpPr>
        <p:spPr>
          <a:xfrm>
            <a:off x="0" y="4153578"/>
            <a:ext cx="6840000" cy="936000"/>
          </a:xfrm>
          <a:prstGeom prst="rect">
            <a:avLst/>
          </a:prstGeom>
          <a:solidFill>
            <a:schemeClr val="dk1">
              <a:alpha val="89800"/>
            </a:schemeClr>
          </a:solidFill>
          <a:ln>
            <a:noFill/>
          </a:ln>
        </p:spPr>
        <p:txBody>
          <a:bodyPr spcFirstLastPara="1" wrap="square" lIns="432000" tIns="144000" rIns="0" bIns="0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sz="2100">
                <a:solidFill>
                  <a:schemeClr val="lt1"/>
                </a:solidFill>
              </a:defRPr>
            </a:lvl1pPr>
            <a:lvl2pPr lvl="1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2000"/>
              <a:buNone/>
              <a:defRPr sz="2000"/>
            </a:lvl2pPr>
            <a:lvl3pPr lvl="2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 sz="1800"/>
            </a:lvl3pPr>
            <a:lvl4pPr lvl="3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600"/>
              <a:buNone/>
              <a:defRPr sz="1600"/>
            </a:lvl4pPr>
            <a:lvl5pPr lvl="4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6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8" name="Google Shape;98;p17"/>
          <p:cNvSpPr/>
          <p:nvPr/>
        </p:nvSpPr>
        <p:spPr>
          <a:xfrm rot="4307491">
            <a:off x="8139213" y="-52307"/>
            <a:ext cx="648708" cy="777614"/>
          </a:xfrm>
          <a:custGeom>
            <a:avLst/>
            <a:gdLst/>
            <a:ahLst/>
            <a:cxnLst/>
            <a:rect l="l" t="t" r="r" b="b"/>
            <a:pathLst>
              <a:path w="648657" h="777553" extrusionOk="0">
                <a:moveTo>
                  <a:pt x="0" y="777553"/>
                </a:moveTo>
                <a:lnTo>
                  <a:pt x="255474" y="0"/>
                </a:lnTo>
                <a:lnTo>
                  <a:pt x="648657" y="713937"/>
                </a:lnTo>
                <a:lnTo>
                  <a:pt x="0" y="777553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" name="Google Shape;99;p17"/>
          <p:cNvSpPr/>
          <p:nvPr/>
        </p:nvSpPr>
        <p:spPr>
          <a:xfrm rot="4307491">
            <a:off x="8879086" y="-532106"/>
            <a:ext cx="3571494" cy="3737385"/>
          </a:xfrm>
          <a:custGeom>
            <a:avLst/>
            <a:gdLst/>
            <a:ahLst/>
            <a:cxnLst/>
            <a:rect l="l" t="t" r="r" b="b"/>
            <a:pathLst>
              <a:path w="3571215" h="3737093" extrusionOk="0">
                <a:moveTo>
                  <a:pt x="0" y="3023156"/>
                </a:moveTo>
                <a:lnTo>
                  <a:pt x="993291" y="0"/>
                </a:lnTo>
                <a:lnTo>
                  <a:pt x="3571215" y="847006"/>
                </a:lnTo>
                <a:lnTo>
                  <a:pt x="1392370" y="3639100"/>
                </a:lnTo>
                <a:lnTo>
                  <a:pt x="393183" y="3737093"/>
                </a:lnTo>
                <a:lnTo>
                  <a:pt x="0" y="3023156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" name="Google Shape;100;p17"/>
          <p:cNvSpPr/>
          <p:nvPr/>
        </p:nvSpPr>
        <p:spPr>
          <a:xfrm rot="4307491">
            <a:off x="9191503" y="1651902"/>
            <a:ext cx="1980851" cy="2066671"/>
          </a:xfrm>
          <a:custGeom>
            <a:avLst/>
            <a:gdLst/>
            <a:ahLst/>
            <a:cxnLst/>
            <a:rect l="l" t="t" r="r" b="b"/>
            <a:pathLst>
              <a:path w="1980696" h="2066510" extrusionOk="0">
                <a:moveTo>
                  <a:pt x="0" y="2066510"/>
                </a:moveTo>
                <a:lnTo>
                  <a:pt x="1138078" y="0"/>
                </a:lnTo>
                <a:lnTo>
                  <a:pt x="1980696" y="1530016"/>
                </a:lnTo>
                <a:lnTo>
                  <a:pt x="1459417" y="206651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" name="Google Shape;101;p17"/>
          <p:cNvSpPr/>
          <p:nvPr/>
        </p:nvSpPr>
        <p:spPr>
          <a:xfrm rot="-7765226">
            <a:off x="9457660" y="3977866"/>
            <a:ext cx="346710" cy="206122"/>
          </a:xfrm>
          <a:custGeom>
            <a:avLst/>
            <a:gdLst/>
            <a:ahLst/>
            <a:cxnLst/>
            <a:rect l="l" t="t" r="r" b="b"/>
            <a:pathLst>
              <a:path w="346713" h="206124" extrusionOk="0">
                <a:moveTo>
                  <a:pt x="346713" y="206124"/>
                </a:moveTo>
                <a:lnTo>
                  <a:pt x="0" y="206124"/>
                </a:lnTo>
                <a:lnTo>
                  <a:pt x="86666" y="0"/>
                </a:lnTo>
                <a:lnTo>
                  <a:pt x="346713" y="206124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" name="Google Shape;102;p17"/>
          <p:cNvSpPr/>
          <p:nvPr/>
        </p:nvSpPr>
        <p:spPr>
          <a:xfrm rot="-9167688">
            <a:off x="9528309" y="3713436"/>
            <a:ext cx="711169" cy="335779"/>
          </a:xfrm>
          <a:custGeom>
            <a:avLst/>
            <a:gdLst/>
            <a:ahLst/>
            <a:cxnLst/>
            <a:rect l="l" t="t" r="r" b="b"/>
            <a:pathLst>
              <a:path w="710669" h="335543" extrusionOk="0">
                <a:moveTo>
                  <a:pt x="710669" y="176660"/>
                </a:moveTo>
                <a:lnTo>
                  <a:pt x="0" y="335543"/>
                </a:lnTo>
                <a:lnTo>
                  <a:pt x="141082" y="0"/>
                </a:lnTo>
                <a:lnTo>
                  <a:pt x="487795" y="0"/>
                </a:lnTo>
                <a:lnTo>
                  <a:pt x="710669" y="17666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" name="Google Shape;103;p17"/>
          <p:cNvSpPr/>
          <p:nvPr/>
        </p:nvSpPr>
        <p:spPr>
          <a:xfrm rot="4307491">
            <a:off x="8785644" y="1076077"/>
            <a:ext cx="1246324" cy="1580310"/>
          </a:xfrm>
          <a:custGeom>
            <a:avLst/>
            <a:gdLst/>
            <a:ahLst/>
            <a:cxnLst/>
            <a:rect l="l" t="t" r="r" b="b"/>
            <a:pathLst>
              <a:path w="1246227" h="1580187" extrusionOk="0">
                <a:moveTo>
                  <a:pt x="0" y="1580187"/>
                </a:moveTo>
                <a:lnTo>
                  <a:pt x="1168783" y="0"/>
                </a:lnTo>
                <a:lnTo>
                  <a:pt x="1246227" y="105569"/>
                </a:lnTo>
                <a:lnTo>
                  <a:pt x="358471" y="1574380"/>
                </a:lnTo>
                <a:lnTo>
                  <a:pt x="0" y="1580187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" name="Google Shape;104;p17"/>
          <p:cNvSpPr/>
          <p:nvPr/>
        </p:nvSpPr>
        <p:spPr>
          <a:xfrm rot="-4405461">
            <a:off x="11374706" y="2846779"/>
            <a:ext cx="242921" cy="406153"/>
          </a:xfrm>
          <a:custGeom>
            <a:avLst/>
            <a:gdLst/>
            <a:ahLst/>
            <a:cxnLst/>
            <a:rect l="l" t="t" r="r" b="b"/>
            <a:pathLst>
              <a:path w="243160" h="406553" extrusionOk="0">
                <a:moveTo>
                  <a:pt x="243160" y="342071"/>
                </a:moveTo>
                <a:lnTo>
                  <a:pt x="156493" y="406553"/>
                </a:lnTo>
                <a:lnTo>
                  <a:pt x="0" y="0"/>
                </a:lnTo>
                <a:lnTo>
                  <a:pt x="243160" y="342071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" name="Google Shape;105;p17"/>
          <p:cNvSpPr/>
          <p:nvPr/>
        </p:nvSpPr>
        <p:spPr>
          <a:xfrm rot="-4405461">
            <a:off x="10879163" y="2628004"/>
            <a:ext cx="692116" cy="510107"/>
          </a:xfrm>
          <a:custGeom>
            <a:avLst/>
            <a:gdLst/>
            <a:ahLst/>
            <a:cxnLst/>
            <a:rect l="l" t="t" r="r" b="b"/>
            <a:pathLst>
              <a:path w="692798" h="510610" extrusionOk="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314633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5 Column">
  <p:cSld name="5 Column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19"/>
          <p:cNvSpPr txBox="1"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200"/>
              <a:buFont typeface="Rockwell"/>
              <a:buNone/>
              <a:defRPr>
                <a:solidFill>
                  <a:srgbClr val="3F3F3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19"/>
          <p:cNvSpPr txBox="1">
            <a:spLocks noGrp="1"/>
          </p:cNvSpPr>
          <p:nvPr>
            <p:ph type="body" idx="1"/>
          </p:nvPr>
        </p:nvSpPr>
        <p:spPr>
          <a:xfrm>
            <a:off x="432000" y="1152000"/>
            <a:ext cx="2160000" cy="5039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●"/>
              <a:defRPr>
                <a:solidFill>
                  <a:srgbClr val="3F3F3F"/>
                </a:solidFill>
              </a:defRPr>
            </a:lvl1pPr>
            <a:lvl2pPr marL="914400" lvl="1" indent="-3302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600"/>
              <a:buChar char="○"/>
              <a:defRPr>
                <a:solidFill>
                  <a:srgbClr val="3F3F3F"/>
                </a:solidFill>
              </a:defRPr>
            </a:lvl2pPr>
            <a:lvl3pPr marL="1371600" lvl="2" indent="-3175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400"/>
              <a:buChar char="■"/>
              <a:defRPr>
                <a:solidFill>
                  <a:srgbClr val="3F3F3F"/>
                </a:solidFill>
              </a:defRPr>
            </a:lvl3pPr>
            <a:lvl4pPr marL="1828800" lvl="3" indent="-3175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400"/>
              <a:buChar char="●"/>
              <a:defRPr>
                <a:solidFill>
                  <a:srgbClr val="3F3F3F"/>
                </a:solidFill>
              </a:defRPr>
            </a:lvl4pPr>
            <a:lvl5pPr marL="2286000" lvl="4" indent="-3175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400"/>
              <a:buChar char="○"/>
              <a:defRPr>
                <a:solidFill>
                  <a:srgbClr val="3F3F3F"/>
                </a:solidFill>
              </a:defRPr>
            </a:lvl5pPr>
            <a:lvl6pPr marL="2743200" lvl="5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128" name="Google Shape;128;p19"/>
          <p:cNvSpPr txBox="1">
            <a:spLocks noGrp="1"/>
          </p:cNvSpPr>
          <p:nvPr>
            <p:ph type="ftr" idx="11"/>
          </p:nvPr>
        </p:nvSpPr>
        <p:spPr>
          <a:xfrm>
            <a:off x="431999" y="6188628"/>
            <a:ext cx="878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3F3F3F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19"/>
          <p:cNvSpPr>
            <a:spLocks noGrp="1"/>
          </p:cNvSpPr>
          <p:nvPr>
            <p:ph type="sldNum" idx="12"/>
          </p:nvPr>
        </p:nvSpPr>
        <p:spPr>
          <a:xfrm>
            <a:off x="11496369" y="6155190"/>
            <a:ext cx="432000" cy="432000"/>
          </a:xfrm>
          <a:prstGeom prst="ellipse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ctr" rtl="0">
              <a:spcBef>
                <a:spcPts val="0"/>
              </a:spcBef>
              <a:buNone/>
              <a:defRPr sz="1200" b="1" i="1">
                <a:solidFill>
                  <a:srgbClr val="3F3F3F"/>
                </a:solidFill>
                <a:latin typeface="Rockwell"/>
                <a:ea typeface="Rockwell"/>
                <a:cs typeface="Rockwell"/>
                <a:sym typeface="Rockwell"/>
              </a:defRPr>
            </a:lvl1pPr>
            <a:lvl2pPr marL="0" lvl="1" indent="0" algn="ctr" rtl="0">
              <a:spcBef>
                <a:spcPts val="0"/>
              </a:spcBef>
              <a:buNone/>
              <a:defRPr sz="1200" b="1" i="1">
                <a:solidFill>
                  <a:srgbClr val="3F3F3F"/>
                </a:solidFill>
                <a:latin typeface="Rockwell"/>
                <a:ea typeface="Rockwell"/>
                <a:cs typeface="Rockwell"/>
                <a:sym typeface="Rockwell"/>
              </a:defRPr>
            </a:lvl2pPr>
            <a:lvl3pPr marL="0" lvl="2" indent="0" algn="ctr" rtl="0">
              <a:spcBef>
                <a:spcPts val="0"/>
              </a:spcBef>
              <a:buNone/>
              <a:defRPr sz="1200" b="1" i="1">
                <a:solidFill>
                  <a:srgbClr val="3F3F3F"/>
                </a:solidFill>
                <a:latin typeface="Rockwell"/>
                <a:ea typeface="Rockwell"/>
                <a:cs typeface="Rockwell"/>
                <a:sym typeface="Rockwell"/>
              </a:defRPr>
            </a:lvl3pPr>
            <a:lvl4pPr marL="0" lvl="3" indent="0" algn="ctr" rtl="0">
              <a:spcBef>
                <a:spcPts val="0"/>
              </a:spcBef>
              <a:buNone/>
              <a:defRPr sz="1200" b="1" i="1">
                <a:solidFill>
                  <a:srgbClr val="3F3F3F"/>
                </a:solidFill>
                <a:latin typeface="Rockwell"/>
                <a:ea typeface="Rockwell"/>
                <a:cs typeface="Rockwell"/>
                <a:sym typeface="Rockwell"/>
              </a:defRPr>
            </a:lvl4pPr>
            <a:lvl5pPr marL="0" lvl="4" indent="0" algn="ctr" rtl="0">
              <a:spcBef>
                <a:spcPts val="0"/>
              </a:spcBef>
              <a:buNone/>
              <a:defRPr sz="1200" b="1" i="1">
                <a:solidFill>
                  <a:srgbClr val="3F3F3F"/>
                </a:solidFill>
                <a:latin typeface="Rockwell"/>
                <a:ea typeface="Rockwell"/>
                <a:cs typeface="Rockwell"/>
                <a:sym typeface="Rockwell"/>
              </a:defRPr>
            </a:lvl5pPr>
            <a:lvl6pPr marL="0" lvl="5" indent="0" algn="ctr" rtl="0">
              <a:spcBef>
                <a:spcPts val="0"/>
              </a:spcBef>
              <a:buNone/>
              <a:defRPr sz="1200" b="1" i="1">
                <a:solidFill>
                  <a:srgbClr val="3F3F3F"/>
                </a:solidFill>
                <a:latin typeface="Rockwell"/>
                <a:ea typeface="Rockwell"/>
                <a:cs typeface="Rockwell"/>
                <a:sym typeface="Rockwell"/>
              </a:defRPr>
            </a:lvl6pPr>
            <a:lvl7pPr marL="0" lvl="6" indent="0" algn="ctr" rtl="0">
              <a:spcBef>
                <a:spcPts val="0"/>
              </a:spcBef>
              <a:buNone/>
              <a:defRPr sz="1200" b="1" i="1">
                <a:solidFill>
                  <a:srgbClr val="3F3F3F"/>
                </a:solidFill>
                <a:latin typeface="Rockwell"/>
                <a:ea typeface="Rockwell"/>
                <a:cs typeface="Rockwell"/>
                <a:sym typeface="Rockwell"/>
              </a:defRPr>
            </a:lvl7pPr>
            <a:lvl8pPr marL="0" lvl="7" indent="0" algn="ctr" rtl="0">
              <a:spcBef>
                <a:spcPts val="0"/>
              </a:spcBef>
              <a:buNone/>
              <a:defRPr sz="1200" b="1" i="1">
                <a:solidFill>
                  <a:srgbClr val="3F3F3F"/>
                </a:solidFill>
                <a:latin typeface="Rockwell"/>
                <a:ea typeface="Rockwell"/>
                <a:cs typeface="Rockwell"/>
                <a:sym typeface="Rockwell"/>
              </a:defRPr>
            </a:lvl8pPr>
            <a:lvl9pPr marL="0" lvl="8" indent="0" algn="ctr" rtl="0">
              <a:spcBef>
                <a:spcPts val="0"/>
              </a:spcBef>
              <a:buNone/>
              <a:defRPr sz="1200" b="1" i="1">
                <a:solidFill>
                  <a:srgbClr val="3F3F3F"/>
                </a:solidFill>
                <a:latin typeface="Rockwell"/>
                <a:ea typeface="Rockwell"/>
                <a:cs typeface="Rockwell"/>
                <a:sym typeface="Rockwel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0" name="Google Shape;130;p19"/>
          <p:cNvSpPr txBox="1">
            <a:spLocks noGrp="1"/>
          </p:cNvSpPr>
          <p:nvPr>
            <p:ph type="body" idx="2"/>
          </p:nvPr>
        </p:nvSpPr>
        <p:spPr>
          <a:xfrm>
            <a:off x="2726412" y="1152525"/>
            <a:ext cx="2160600" cy="50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●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■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●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131" name="Google Shape;131;p19"/>
          <p:cNvSpPr txBox="1">
            <a:spLocks noGrp="1"/>
          </p:cNvSpPr>
          <p:nvPr>
            <p:ph type="body" idx="3"/>
          </p:nvPr>
        </p:nvSpPr>
        <p:spPr>
          <a:xfrm>
            <a:off x="5021412" y="1152525"/>
            <a:ext cx="2160600" cy="50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●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■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●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132" name="Google Shape;132;p19"/>
          <p:cNvSpPr txBox="1">
            <a:spLocks noGrp="1"/>
          </p:cNvSpPr>
          <p:nvPr>
            <p:ph type="body" idx="4"/>
          </p:nvPr>
        </p:nvSpPr>
        <p:spPr>
          <a:xfrm>
            <a:off x="7316412" y="1148060"/>
            <a:ext cx="2160600" cy="50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●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■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●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133" name="Google Shape;133;p19"/>
          <p:cNvSpPr txBox="1">
            <a:spLocks noGrp="1"/>
          </p:cNvSpPr>
          <p:nvPr>
            <p:ph type="body" idx="5"/>
          </p:nvPr>
        </p:nvSpPr>
        <p:spPr>
          <a:xfrm>
            <a:off x="9611412" y="1152525"/>
            <a:ext cx="2160600" cy="50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●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■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●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Char char="○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573857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ank You">
  <p:cSld name="Thank You"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20"/>
          <p:cNvSpPr>
            <a:spLocks noGrp="1"/>
          </p:cNvSpPr>
          <p:nvPr>
            <p:ph type="pic" idx="2"/>
          </p:nvPr>
        </p:nvSpPr>
        <p:spPr>
          <a:xfrm>
            <a:off x="86715" y="86714"/>
            <a:ext cx="12018600" cy="66846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360000" tIns="36000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100"/>
              <a:buFont typeface="Arial"/>
              <a:buNone/>
              <a:defRPr sz="1100" b="0" i="1" u="none" strike="noStrike" cap="none">
                <a:solidFill>
                  <a:srgbClr val="3F3F3F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6" name="Google Shape;136;p20"/>
          <p:cNvSpPr txBox="1">
            <a:spLocks noGrp="1"/>
          </p:cNvSpPr>
          <p:nvPr>
            <p:ph type="ctrTitle"/>
          </p:nvPr>
        </p:nvSpPr>
        <p:spPr>
          <a:xfrm>
            <a:off x="2494607" y="2237328"/>
            <a:ext cx="7202700" cy="1449900"/>
          </a:xfrm>
          <a:prstGeom prst="rect">
            <a:avLst/>
          </a:prstGeom>
          <a:solidFill>
            <a:schemeClr val="dk1">
              <a:alpha val="80000"/>
            </a:schemeClr>
          </a:solidFill>
          <a:ln>
            <a:noFill/>
          </a:ln>
        </p:spPr>
        <p:txBody>
          <a:bodyPr spcFirstLastPara="1" wrap="square" lIns="288000" tIns="0" rIns="2160000" bIns="144000" anchor="b" anchorCtr="0">
            <a:noAutofit/>
          </a:bodyPr>
          <a:lstStyle>
            <a:lvl1pPr lvl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600"/>
              <a:buFont typeface="Rockwell"/>
              <a:buNone/>
              <a:defRPr sz="66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7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20"/>
          <p:cNvSpPr txBox="1">
            <a:spLocks noGrp="1"/>
          </p:cNvSpPr>
          <p:nvPr>
            <p:ph type="subTitle" idx="1"/>
          </p:nvPr>
        </p:nvSpPr>
        <p:spPr>
          <a:xfrm>
            <a:off x="2494607" y="3684672"/>
            <a:ext cx="5282400" cy="1604100"/>
          </a:xfrm>
          <a:prstGeom prst="rect">
            <a:avLst/>
          </a:prstGeom>
          <a:solidFill>
            <a:schemeClr val="dk1">
              <a:alpha val="89800"/>
            </a:schemeClr>
          </a:solidFill>
          <a:ln>
            <a:noFill/>
          </a:ln>
        </p:spPr>
        <p:txBody>
          <a:bodyPr spcFirstLastPara="1" wrap="square" lIns="216000" tIns="144000" rIns="576000" bIns="0" anchor="t" anchorCtr="0">
            <a:noAutofit/>
          </a:bodyPr>
          <a:lstStyle>
            <a:lvl1pPr lvl="0" algn="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100"/>
              <a:buNone/>
              <a:defRPr sz="2100">
                <a:solidFill>
                  <a:schemeClr val="lt1"/>
                </a:solidFill>
                <a:latin typeface="Rockwell"/>
                <a:ea typeface="Rockwell"/>
                <a:cs typeface="Rockwell"/>
                <a:sym typeface="Rockwell"/>
              </a:defRPr>
            </a:lvl1pPr>
            <a:lvl2pPr lvl="1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2000"/>
              <a:buNone/>
              <a:defRPr sz="2000"/>
            </a:lvl2pPr>
            <a:lvl3pPr lvl="2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 sz="1800"/>
            </a:lvl3pPr>
            <a:lvl4pPr lvl="3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600"/>
              <a:buNone/>
              <a:defRPr sz="1600"/>
            </a:lvl4pPr>
            <a:lvl5pPr lvl="4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rgbClr val="3F3F3F"/>
              </a:buClr>
              <a:buSzPts val="16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138" name="Google Shape;138;p20"/>
          <p:cNvCxnSpPr/>
          <p:nvPr/>
        </p:nvCxnSpPr>
        <p:spPr>
          <a:xfrm>
            <a:off x="7777113" y="2412127"/>
            <a:ext cx="0" cy="110010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" name="Google Shape;139;p20"/>
          <p:cNvSpPr txBox="1">
            <a:spLocks noGrp="1"/>
          </p:cNvSpPr>
          <p:nvPr>
            <p:ph type="body" idx="3"/>
          </p:nvPr>
        </p:nvSpPr>
        <p:spPr>
          <a:xfrm>
            <a:off x="2667000" y="4142258"/>
            <a:ext cx="4508400" cy="2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r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140" name="Google Shape;140;p20"/>
          <p:cNvSpPr txBox="1">
            <a:spLocks noGrp="1"/>
          </p:cNvSpPr>
          <p:nvPr>
            <p:ph type="body" idx="4"/>
          </p:nvPr>
        </p:nvSpPr>
        <p:spPr>
          <a:xfrm>
            <a:off x="2667000" y="4448040"/>
            <a:ext cx="4508400" cy="2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r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141" name="Google Shape;141;p20"/>
          <p:cNvSpPr>
            <a:spLocks noGrp="1"/>
          </p:cNvSpPr>
          <p:nvPr>
            <p:ph type="pic" idx="5"/>
          </p:nvPr>
        </p:nvSpPr>
        <p:spPr>
          <a:xfrm>
            <a:off x="8065008" y="2587752"/>
            <a:ext cx="1344300" cy="70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F3F3F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2" name="Google Shape;142;p20"/>
          <p:cNvSpPr txBox="1">
            <a:spLocks noGrp="1"/>
          </p:cNvSpPr>
          <p:nvPr>
            <p:ph type="body" idx="6"/>
          </p:nvPr>
        </p:nvSpPr>
        <p:spPr>
          <a:xfrm>
            <a:off x="2667000" y="4753821"/>
            <a:ext cx="4508400" cy="27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r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 sz="1600">
                <a:solidFill>
                  <a:schemeClr val="lt1"/>
                </a:solidFill>
              </a:defRPr>
            </a:lvl1pPr>
            <a:lvl2pPr marL="914400" lvl="1" indent="-228600" algn="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6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r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255636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(Plai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7FB454B8-622E-D643-B38F-8FBBFCD62ABD}"/>
              </a:ext>
            </a:extLst>
          </p:cNvPr>
          <p:cNvSpPr/>
          <p:nvPr userDrawn="1"/>
        </p:nvSpPr>
        <p:spPr>
          <a:xfrm flipH="1">
            <a:off x="2490" y="2171627"/>
            <a:ext cx="11707575" cy="1815552"/>
          </a:xfrm>
          <a:custGeom>
            <a:avLst/>
            <a:gdLst>
              <a:gd name="connsiteX0" fmla="*/ 8780681 w 8780681"/>
              <a:gd name="connsiteY0" fmla="*/ 0 h 1815552"/>
              <a:gd name="connsiteX1" fmla="*/ 861570 w 8780681"/>
              <a:gd name="connsiteY1" fmla="*/ 0 h 1815552"/>
              <a:gd name="connsiteX2" fmla="*/ 0 w 8780681"/>
              <a:gd name="connsiteY2" fmla="*/ 1815552 h 1815552"/>
              <a:gd name="connsiteX3" fmla="*/ 8780681 w 8780681"/>
              <a:gd name="connsiteY3" fmla="*/ 1815552 h 181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80681" h="1815552">
                <a:moveTo>
                  <a:pt x="8780681" y="0"/>
                </a:moveTo>
                <a:lnTo>
                  <a:pt x="861570" y="0"/>
                </a:lnTo>
                <a:lnTo>
                  <a:pt x="0" y="1815552"/>
                </a:lnTo>
                <a:lnTo>
                  <a:pt x="8780681" y="181555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A7DAA80D-E5FC-834A-808A-ED4B4782F280}"/>
              </a:ext>
            </a:extLst>
          </p:cNvPr>
          <p:cNvSpPr/>
          <p:nvPr userDrawn="1"/>
        </p:nvSpPr>
        <p:spPr>
          <a:xfrm flipH="1">
            <a:off x="0" y="6029562"/>
            <a:ext cx="9041763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E81DABE-F464-1D49-8042-2AB1827E11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65464" y="5966248"/>
            <a:ext cx="2868545" cy="555202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9428846E-90EC-CF46-BA3C-6E7E7F9A6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734" y="2357718"/>
            <a:ext cx="9993969" cy="1443370"/>
          </a:xfrm>
        </p:spPr>
        <p:txBody>
          <a:bodyPr anchor="ctr"/>
          <a:lstStyle>
            <a:lvl1pPr>
              <a:defRPr sz="3600"/>
            </a:lvl1pPr>
          </a:lstStyle>
          <a:p>
            <a:pPr lvl="0"/>
            <a:r>
              <a:rPr lang="en-US" dirty="0"/>
              <a:t>CLICK TO EDIT PRESENTATION TITLE. ALL CAPS. TWO LINES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F8990A5-0ABE-6D46-9F28-E80369FD7B27}"/>
              </a:ext>
            </a:extLst>
          </p:cNvPr>
          <p:cNvGrpSpPr/>
          <p:nvPr userDrawn="1"/>
        </p:nvGrpSpPr>
        <p:grpSpPr>
          <a:xfrm>
            <a:off x="-342618" y="2662813"/>
            <a:ext cx="335281" cy="803868"/>
            <a:chOff x="-256404" y="360363"/>
            <a:chExt cx="251461" cy="69215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06C7E69-FE02-E149-8BB5-434392A5681B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82F7D333-4D72-0B45-8D5E-E052DE17B4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2BFE8D9F-D9D1-7446-8D2B-391634400F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647C002-34D7-E549-BD63-5A83EC7E36CA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A3789A9-A137-3A4B-87B9-41698E91325A}"/>
                </a:ext>
              </a:extLst>
            </p:cNvPr>
            <p:cNvSpPr txBox="1"/>
            <p:nvPr userDrawn="1"/>
          </p:nvSpPr>
          <p:spPr>
            <a:xfrm rot="16200000">
              <a:off x="-235571" y="662665"/>
              <a:ext cx="209794" cy="8079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F586333-824B-794D-AA8F-3C6BE5F1C65F}"/>
              </a:ext>
            </a:extLst>
          </p:cNvPr>
          <p:cNvGrpSpPr/>
          <p:nvPr userDrawn="1"/>
        </p:nvGrpSpPr>
        <p:grpSpPr>
          <a:xfrm>
            <a:off x="-342618" y="6029561"/>
            <a:ext cx="335281" cy="414972"/>
            <a:chOff x="-256404" y="360363"/>
            <a:chExt cx="251461" cy="692152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6495F36-0325-BD46-AEAC-EFD96052E078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BCB0A2ED-696C-614E-B833-27629591344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8D5C0D5A-FDE9-F944-909A-630F0DA12F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49102644-5D60-EE47-9759-33BE1EBA9FF3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4E28546-B774-3A40-B34C-AAF59ECF1BD9}"/>
                </a:ext>
              </a:extLst>
            </p:cNvPr>
            <p:cNvSpPr txBox="1"/>
            <p:nvPr userDrawn="1"/>
          </p:nvSpPr>
          <p:spPr>
            <a:xfrm rot="16200000">
              <a:off x="-328529" y="662664"/>
              <a:ext cx="395711" cy="8079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DATE</a:t>
              </a:r>
            </a:p>
          </p:txBody>
        </p:sp>
      </p:grp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740F04A0-110C-5F42-B566-20EA7EADEBC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1136" y="6061209"/>
            <a:ext cx="4417905" cy="364145"/>
          </a:xfrm>
        </p:spPr>
        <p:txBody>
          <a:bodyPr anchor="ctr"/>
          <a:lstStyle>
            <a:lvl1pPr marL="9525" indent="0">
              <a:buFontTx/>
              <a:buNone/>
              <a:tabLst/>
              <a:defRPr sz="1400" b="0">
                <a:solidFill>
                  <a:schemeClr val="bg1"/>
                </a:solidFill>
              </a:defRPr>
            </a:lvl1pPr>
            <a:lvl2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2pPr>
            <a:lvl3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3pPr>
            <a:lvl4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4pPr>
            <a:lvl5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5pPr>
            <a:lvl6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6pPr>
            <a:lvl7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7pPr>
            <a:lvl8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8pPr>
            <a:lvl9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date (Month DD, YYYY)</a:t>
            </a:r>
          </a:p>
        </p:txBody>
      </p:sp>
    </p:spTree>
    <p:extLst>
      <p:ext uri="{BB962C8B-B14F-4D97-AF65-F5344CB8AC3E}">
        <p14:creationId xmlns:p14="http://schemas.microsoft.com/office/powerpoint/2010/main" val="1272378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Text Over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>
            <a:extLst>
              <a:ext uri="{FF2B5EF4-FFF2-40B4-BE49-F238E27FC236}">
                <a16:creationId xmlns:a16="http://schemas.microsoft.com/office/drawing/2014/main" id="{53978DEE-ECAD-2749-B8B1-A2F8338F3B0F}"/>
              </a:ext>
            </a:extLst>
          </p:cNvPr>
          <p:cNvSpPr txBox="1">
            <a:spLocks/>
          </p:cNvSpPr>
          <p:nvPr userDrawn="1"/>
        </p:nvSpPr>
        <p:spPr>
          <a:xfrm>
            <a:off x="0" y="6200777"/>
            <a:ext cx="12192000" cy="657225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8FF2F9E-B138-B440-A76C-3B6051B4C94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112838"/>
            <a:ext cx="12192001" cy="5745162"/>
          </a:xfrm>
          <a:custGeom>
            <a:avLst/>
            <a:gdLst>
              <a:gd name="connsiteX0" fmla="*/ 8545320 w 9144001"/>
              <a:gd name="connsiteY0" fmla="*/ 5464436 h 5745162"/>
              <a:gd name="connsiteX1" fmla="*/ 8554630 w 9144001"/>
              <a:gd name="connsiteY1" fmla="*/ 5464436 h 5745162"/>
              <a:gd name="connsiteX2" fmla="*/ 8572756 w 9144001"/>
              <a:gd name="connsiteY2" fmla="*/ 5479725 h 5745162"/>
              <a:gd name="connsiteX3" fmla="*/ 8552840 w 9144001"/>
              <a:gd name="connsiteY3" fmla="*/ 5495748 h 5745162"/>
              <a:gd name="connsiteX4" fmla="*/ 8552840 w 9144001"/>
              <a:gd name="connsiteY4" fmla="*/ 5495635 h 5745162"/>
              <a:gd name="connsiteX5" fmla="*/ 8545320 w 9144001"/>
              <a:gd name="connsiteY5" fmla="*/ 5495635 h 5745162"/>
              <a:gd name="connsiteX6" fmla="*/ 8440531 w 9144001"/>
              <a:gd name="connsiteY6" fmla="*/ 5463326 h 5745162"/>
              <a:gd name="connsiteX7" fmla="*/ 8450869 w 9144001"/>
              <a:gd name="connsiteY7" fmla="*/ 5463326 h 5745162"/>
              <a:gd name="connsiteX8" fmla="*/ 8486566 w 9144001"/>
              <a:gd name="connsiteY8" fmla="*/ 5494375 h 5745162"/>
              <a:gd name="connsiteX9" fmla="*/ 8452487 w 9144001"/>
              <a:gd name="connsiteY9" fmla="*/ 5527456 h 5745162"/>
              <a:gd name="connsiteX10" fmla="*/ 8440531 w 9144001"/>
              <a:gd name="connsiteY10" fmla="*/ 5527456 h 5745162"/>
              <a:gd name="connsiteX11" fmla="*/ 8359312 w 9144001"/>
              <a:gd name="connsiteY11" fmla="*/ 5441906 h 5745162"/>
              <a:gd name="connsiteX12" fmla="*/ 8357846 w 9144001"/>
              <a:gd name="connsiteY12" fmla="*/ 5445009 h 5745162"/>
              <a:gd name="connsiteX13" fmla="*/ 8338065 w 9144001"/>
              <a:gd name="connsiteY13" fmla="*/ 5486815 h 5745162"/>
              <a:gd name="connsiteX14" fmla="*/ 8338065 w 9144001"/>
              <a:gd name="connsiteY14" fmla="*/ 5548726 h 5745162"/>
              <a:gd name="connsiteX15" fmla="*/ 8406528 w 9144001"/>
              <a:gd name="connsiteY15" fmla="*/ 5548726 h 5745162"/>
              <a:gd name="connsiteX16" fmla="*/ 8406528 w 9144001"/>
              <a:gd name="connsiteY16" fmla="*/ 5526139 h 5745162"/>
              <a:gd name="connsiteX17" fmla="*/ 8363158 w 9144001"/>
              <a:gd name="connsiteY17" fmla="*/ 5526139 h 5745162"/>
              <a:gd name="connsiteX18" fmla="*/ 8363158 w 9144001"/>
              <a:gd name="connsiteY18" fmla="*/ 5505302 h 5745162"/>
              <a:gd name="connsiteX19" fmla="*/ 8402682 w 9144001"/>
              <a:gd name="connsiteY19" fmla="*/ 5505302 h 5745162"/>
              <a:gd name="connsiteX20" fmla="*/ 8402682 w 9144001"/>
              <a:gd name="connsiteY20" fmla="*/ 5483731 h 5745162"/>
              <a:gd name="connsiteX21" fmla="*/ 8363158 w 9144001"/>
              <a:gd name="connsiteY21" fmla="*/ 5483731 h 5745162"/>
              <a:gd name="connsiteX22" fmla="*/ 8363158 w 9144001"/>
              <a:gd name="connsiteY22" fmla="*/ 5464643 h 5745162"/>
              <a:gd name="connsiteX23" fmla="*/ 8406528 w 9144001"/>
              <a:gd name="connsiteY23" fmla="*/ 5464643 h 5745162"/>
              <a:gd name="connsiteX24" fmla="*/ 8406528 w 9144001"/>
              <a:gd name="connsiteY24" fmla="*/ 5441906 h 5745162"/>
              <a:gd name="connsiteX25" fmla="*/ 8245575 w 9144001"/>
              <a:gd name="connsiteY25" fmla="*/ 5441887 h 5745162"/>
              <a:gd name="connsiteX26" fmla="*/ 8262082 w 9144001"/>
              <a:gd name="connsiteY26" fmla="*/ 5476284 h 5745162"/>
              <a:gd name="connsiteX27" fmla="*/ 8288526 w 9144001"/>
              <a:gd name="connsiteY27" fmla="*/ 5476284 h 5745162"/>
              <a:gd name="connsiteX28" fmla="*/ 8273962 w 9144001"/>
              <a:gd name="connsiteY28" fmla="*/ 5441887 h 5745162"/>
              <a:gd name="connsiteX29" fmla="*/ 8520246 w 9144001"/>
              <a:gd name="connsiteY29" fmla="*/ 5441868 h 5745162"/>
              <a:gd name="connsiteX30" fmla="*/ 8520246 w 9144001"/>
              <a:gd name="connsiteY30" fmla="*/ 5548725 h 5745162"/>
              <a:gd name="connsiteX31" fmla="*/ 8545320 w 9144001"/>
              <a:gd name="connsiteY31" fmla="*/ 5548725 h 5745162"/>
              <a:gd name="connsiteX32" fmla="*/ 8545320 w 9144001"/>
              <a:gd name="connsiteY32" fmla="*/ 5517093 h 5745162"/>
              <a:gd name="connsiteX33" fmla="*/ 8554630 w 9144001"/>
              <a:gd name="connsiteY33" fmla="*/ 5517093 h 5745162"/>
              <a:gd name="connsiteX34" fmla="*/ 8598420 w 9144001"/>
              <a:gd name="connsiteY34" fmla="*/ 5479180 h 5745162"/>
              <a:gd name="connsiteX35" fmla="*/ 8550346 w 9144001"/>
              <a:gd name="connsiteY35" fmla="*/ 5441868 h 5745162"/>
              <a:gd name="connsiteX36" fmla="*/ 8415495 w 9144001"/>
              <a:gd name="connsiteY36" fmla="*/ 5441868 h 5745162"/>
              <a:gd name="connsiteX37" fmla="*/ 8415495 w 9144001"/>
              <a:gd name="connsiteY37" fmla="*/ 5548631 h 5745162"/>
              <a:gd name="connsiteX38" fmla="*/ 8448546 w 9144001"/>
              <a:gd name="connsiteY38" fmla="*/ 5548744 h 5745162"/>
              <a:gd name="connsiteX39" fmla="*/ 8513278 w 9144001"/>
              <a:gd name="connsiteY39" fmla="*/ 5494375 h 5745162"/>
              <a:gd name="connsiteX40" fmla="*/ 8447461 w 9144001"/>
              <a:gd name="connsiteY40" fmla="*/ 5441906 h 5745162"/>
              <a:gd name="connsiteX41" fmla="*/ 8447499 w 9144001"/>
              <a:gd name="connsiteY41" fmla="*/ 5441868 h 5745162"/>
              <a:gd name="connsiteX42" fmla="*/ 8415495 w 9144001"/>
              <a:gd name="connsiteY42" fmla="*/ 5441868 h 5745162"/>
              <a:gd name="connsiteX43" fmla="*/ 8323900 w 9144001"/>
              <a:gd name="connsiteY43" fmla="*/ 5441868 h 5745162"/>
              <a:gd name="connsiteX44" fmla="*/ 8298693 w 9144001"/>
              <a:gd name="connsiteY44" fmla="*/ 5499810 h 5745162"/>
              <a:gd name="connsiteX45" fmla="*/ 8291858 w 9144001"/>
              <a:gd name="connsiteY45" fmla="*/ 5483806 h 5745162"/>
              <a:gd name="connsiteX46" fmla="*/ 8265623 w 9144001"/>
              <a:gd name="connsiteY46" fmla="*/ 5483806 h 5745162"/>
              <a:gd name="connsiteX47" fmla="*/ 8296942 w 9144001"/>
              <a:gd name="connsiteY47" fmla="*/ 5549139 h 5745162"/>
              <a:gd name="connsiteX48" fmla="*/ 8299855 w 9144001"/>
              <a:gd name="connsiteY48" fmla="*/ 5549139 h 5745162"/>
              <a:gd name="connsiteX49" fmla="*/ 8350593 w 9144001"/>
              <a:gd name="connsiteY49" fmla="*/ 5441868 h 5745162"/>
              <a:gd name="connsiteX50" fmla="*/ 8704282 w 9144001"/>
              <a:gd name="connsiteY50" fmla="*/ 5403309 h 5745162"/>
              <a:gd name="connsiteX51" fmla="*/ 8704282 w 9144001"/>
              <a:gd name="connsiteY51" fmla="*/ 5577934 h 5745162"/>
              <a:gd name="connsiteX52" fmla="*/ 8723671 w 9144001"/>
              <a:gd name="connsiteY52" fmla="*/ 5577934 h 5745162"/>
              <a:gd name="connsiteX53" fmla="*/ 8723671 w 9144001"/>
              <a:gd name="connsiteY53" fmla="*/ 5403309 h 5745162"/>
              <a:gd name="connsiteX54" fmla="*/ 0 w 9144001"/>
              <a:gd name="connsiteY54" fmla="*/ 0 h 5745162"/>
              <a:gd name="connsiteX55" fmla="*/ 9144001 w 9144001"/>
              <a:gd name="connsiteY55" fmla="*/ 0 h 5745162"/>
              <a:gd name="connsiteX56" fmla="*/ 9144001 w 9144001"/>
              <a:gd name="connsiteY56" fmla="*/ 32567 h 5745162"/>
              <a:gd name="connsiteX57" fmla="*/ 9144001 w 9144001"/>
              <a:gd name="connsiteY57" fmla="*/ 3873048 h 5745162"/>
              <a:gd name="connsiteX58" fmla="*/ 9144001 w 9144001"/>
              <a:gd name="connsiteY58" fmla="*/ 5745162 h 5745162"/>
              <a:gd name="connsiteX59" fmla="*/ 0 w 9144001"/>
              <a:gd name="connsiteY59" fmla="*/ 5745162 h 5745162"/>
              <a:gd name="connsiteX60" fmla="*/ 0 w 9144001"/>
              <a:gd name="connsiteY60" fmla="*/ 3873048 h 5745162"/>
              <a:gd name="connsiteX61" fmla="*/ 0 w 9144001"/>
              <a:gd name="connsiteY61" fmla="*/ 32567 h 5745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9144001" h="5745162">
                <a:moveTo>
                  <a:pt x="8545320" y="5464436"/>
                </a:moveTo>
                <a:lnTo>
                  <a:pt x="8554630" y="5464436"/>
                </a:lnTo>
                <a:cubicBezTo>
                  <a:pt x="8567006" y="5464436"/>
                  <a:pt x="8572756" y="5471131"/>
                  <a:pt x="8572756" y="5479725"/>
                </a:cubicBezTo>
                <a:cubicBezTo>
                  <a:pt x="8572756" y="5490069"/>
                  <a:pt x="8566130" y="5495748"/>
                  <a:pt x="8552840" y="5495748"/>
                </a:cubicBezTo>
                <a:lnTo>
                  <a:pt x="8552840" y="5495635"/>
                </a:lnTo>
                <a:lnTo>
                  <a:pt x="8545320" y="5495635"/>
                </a:lnTo>
                <a:close/>
                <a:moveTo>
                  <a:pt x="8440531" y="5463326"/>
                </a:moveTo>
                <a:lnTo>
                  <a:pt x="8450869" y="5463326"/>
                </a:lnTo>
                <a:cubicBezTo>
                  <a:pt x="8474172" y="5463326"/>
                  <a:pt x="8486566" y="5474986"/>
                  <a:pt x="8486566" y="5494375"/>
                </a:cubicBezTo>
                <a:cubicBezTo>
                  <a:pt x="8486566" y="5514348"/>
                  <a:pt x="8476095" y="5527456"/>
                  <a:pt x="8452487" y="5527456"/>
                </a:cubicBezTo>
                <a:lnTo>
                  <a:pt x="8440531" y="5527456"/>
                </a:lnTo>
                <a:close/>
                <a:moveTo>
                  <a:pt x="8359312" y="5441906"/>
                </a:moveTo>
                <a:lnTo>
                  <a:pt x="8357846" y="5445009"/>
                </a:lnTo>
                <a:lnTo>
                  <a:pt x="8338065" y="5486815"/>
                </a:lnTo>
                <a:lnTo>
                  <a:pt x="8338065" y="5548726"/>
                </a:lnTo>
                <a:lnTo>
                  <a:pt x="8406528" y="5548726"/>
                </a:lnTo>
                <a:lnTo>
                  <a:pt x="8406528" y="5526139"/>
                </a:lnTo>
                <a:lnTo>
                  <a:pt x="8363158" y="5526139"/>
                </a:lnTo>
                <a:lnTo>
                  <a:pt x="8363158" y="5505302"/>
                </a:lnTo>
                <a:lnTo>
                  <a:pt x="8402682" y="5505302"/>
                </a:lnTo>
                <a:lnTo>
                  <a:pt x="8402682" y="5483731"/>
                </a:lnTo>
                <a:lnTo>
                  <a:pt x="8363158" y="5483731"/>
                </a:lnTo>
                <a:lnTo>
                  <a:pt x="8363158" y="5464643"/>
                </a:lnTo>
                <a:lnTo>
                  <a:pt x="8406528" y="5464643"/>
                </a:lnTo>
                <a:lnTo>
                  <a:pt x="8406528" y="5441906"/>
                </a:lnTo>
                <a:close/>
                <a:moveTo>
                  <a:pt x="8245575" y="5441887"/>
                </a:moveTo>
                <a:lnTo>
                  <a:pt x="8262082" y="5476284"/>
                </a:lnTo>
                <a:lnTo>
                  <a:pt x="8288526" y="5476284"/>
                </a:lnTo>
                <a:lnTo>
                  <a:pt x="8273962" y="5441887"/>
                </a:lnTo>
                <a:close/>
                <a:moveTo>
                  <a:pt x="8520246" y="5441868"/>
                </a:moveTo>
                <a:lnTo>
                  <a:pt x="8520246" y="5548725"/>
                </a:lnTo>
                <a:lnTo>
                  <a:pt x="8545320" y="5548725"/>
                </a:lnTo>
                <a:lnTo>
                  <a:pt x="8545320" y="5517093"/>
                </a:lnTo>
                <a:lnTo>
                  <a:pt x="8554630" y="5517093"/>
                </a:lnTo>
                <a:cubicBezTo>
                  <a:pt x="8583189" y="5517093"/>
                  <a:pt x="8598420" y="5501202"/>
                  <a:pt x="8598420" y="5479180"/>
                </a:cubicBezTo>
                <a:cubicBezTo>
                  <a:pt x="8598439" y="5457647"/>
                  <a:pt x="8581628" y="5441868"/>
                  <a:pt x="8550346" y="5441868"/>
                </a:cubicBezTo>
                <a:close/>
                <a:moveTo>
                  <a:pt x="8415495" y="5441868"/>
                </a:moveTo>
                <a:lnTo>
                  <a:pt x="8415495" y="5548631"/>
                </a:lnTo>
                <a:cubicBezTo>
                  <a:pt x="8415495" y="5548631"/>
                  <a:pt x="8435866" y="5548744"/>
                  <a:pt x="8448546" y="5548744"/>
                </a:cubicBezTo>
                <a:cubicBezTo>
                  <a:pt x="8493382" y="5548744"/>
                  <a:pt x="8513278" y="5525857"/>
                  <a:pt x="8513278" y="5494375"/>
                </a:cubicBezTo>
                <a:cubicBezTo>
                  <a:pt x="8513278" y="5464285"/>
                  <a:pt x="8492335" y="5441906"/>
                  <a:pt x="8447461" y="5441906"/>
                </a:cubicBezTo>
                <a:lnTo>
                  <a:pt x="8447499" y="5441868"/>
                </a:lnTo>
                <a:cubicBezTo>
                  <a:pt x="8436742" y="5441868"/>
                  <a:pt x="8415495" y="5441868"/>
                  <a:pt x="8415495" y="5441868"/>
                </a:cubicBezTo>
                <a:close/>
                <a:moveTo>
                  <a:pt x="8323900" y="5441868"/>
                </a:moveTo>
                <a:lnTo>
                  <a:pt x="8298693" y="5499810"/>
                </a:lnTo>
                <a:lnTo>
                  <a:pt x="8291858" y="5483806"/>
                </a:lnTo>
                <a:lnTo>
                  <a:pt x="8265623" y="5483806"/>
                </a:lnTo>
                <a:lnTo>
                  <a:pt x="8296942" y="5549139"/>
                </a:lnTo>
                <a:lnTo>
                  <a:pt x="8299855" y="5549139"/>
                </a:lnTo>
                <a:lnTo>
                  <a:pt x="8350593" y="5441868"/>
                </a:lnTo>
                <a:close/>
                <a:moveTo>
                  <a:pt x="8704282" y="5403309"/>
                </a:moveTo>
                <a:lnTo>
                  <a:pt x="8704282" y="5577934"/>
                </a:lnTo>
                <a:lnTo>
                  <a:pt x="8723671" y="5577934"/>
                </a:lnTo>
                <a:lnTo>
                  <a:pt x="8723671" y="5403309"/>
                </a:lnTo>
                <a:close/>
                <a:moveTo>
                  <a:pt x="0" y="0"/>
                </a:moveTo>
                <a:lnTo>
                  <a:pt x="9144001" y="0"/>
                </a:lnTo>
                <a:lnTo>
                  <a:pt x="9144001" y="32567"/>
                </a:lnTo>
                <a:lnTo>
                  <a:pt x="9144001" y="3873048"/>
                </a:lnTo>
                <a:lnTo>
                  <a:pt x="9144001" y="5745162"/>
                </a:lnTo>
                <a:lnTo>
                  <a:pt x="0" y="5745162"/>
                </a:lnTo>
                <a:lnTo>
                  <a:pt x="0" y="3873048"/>
                </a:lnTo>
                <a:lnTo>
                  <a:pt x="0" y="3256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Drag image onto slide to add photo</a:t>
            </a:r>
          </a:p>
        </p:txBody>
      </p:sp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630CB258-15BC-1643-9DB4-368468698F13}"/>
              </a:ext>
            </a:extLst>
          </p:cNvPr>
          <p:cNvSpPr>
            <a:spLocks noGrp="1"/>
          </p:cNvSpPr>
          <p:nvPr>
            <p:ph type="body" sz="quarter" idx="200"/>
          </p:nvPr>
        </p:nvSpPr>
        <p:spPr>
          <a:xfrm>
            <a:off x="0" y="1112838"/>
            <a:ext cx="6096000" cy="5745162"/>
          </a:xfrm>
          <a:gradFill>
            <a:gsLst>
              <a:gs pos="13000">
                <a:schemeClr val="accent1"/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lIns="432000" rIns="360000" bIns="36000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B11128-F69D-DC4E-8CD4-B5A9A92E8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1518A119-6232-A242-B4A2-83D06D216BA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575733" y="6200775"/>
            <a:ext cx="4934115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bg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bg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bg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bg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bg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bg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bg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bg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7A898C-B866-B14B-9178-5A34D2335457}"/>
              </a:ext>
            </a:extLst>
          </p:cNvPr>
          <p:cNvSpPr>
            <a:spLocks noGrp="1"/>
          </p:cNvSpPr>
          <p:nvPr>
            <p:ph type="dt" sz="half" idx="1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F97896-B943-434D-88CF-4C1DD9A124EB}"/>
              </a:ext>
            </a:extLst>
          </p:cNvPr>
          <p:cNvSpPr>
            <a:spLocks noGrp="1"/>
          </p:cNvSpPr>
          <p:nvPr>
            <p:ph type="ftr" sz="quarter" idx="1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FD347B14-43C4-154A-92C4-BB860714839D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7947046" y="5912275"/>
            <a:ext cx="3657167" cy="440850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48" name="Slide Number Placeholder 3">
            <a:extLst>
              <a:ext uri="{FF2B5EF4-FFF2-40B4-BE49-F238E27FC236}">
                <a16:creationId xmlns:a16="http://schemas.microsoft.com/office/drawing/2014/main" id="{92E106F0-9484-5947-ACF2-FD796A463D32}"/>
              </a:ext>
            </a:extLst>
          </p:cNvPr>
          <p:cNvSpPr>
            <a:spLocks noGrp="1"/>
          </p:cNvSpPr>
          <p:nvPr userDrawn="1">
            <p:ph type="sldNum" sz="quarter" idx="112"/>
          </p:nvPr>
        </p:nvSpPr>
        <p:spPr>
          <a:xfrm>
            <a:off x="11720052" y="6516149"/>
            <a:ext cx="467272" cy="17462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12700"/>
            <a:fld id="{078C017C-E1B9-8443-B047-B08AAA027B45}" type="slidenum">
              <a:rPr lang="en-US" smtClean="0"/>
              <a:pPr marL="12700"/>
              <a:t>‹#›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104F9D3-21BC-F941-8399-CF9E0BBD5283}"/>
              </a:ext>
            </a:extLst>
          </p:cNvPr>
          <p:cNvGrpSpPr/>
          <p:nvPr userDrawn="1"/>
        </p:nvGrpSpPr>
        <p:grpSpPr>
          <a:xfrm>
            <a:off x="12532244" y="-2"/>
            <a:ext cx="3948953" cy="11187339"/>
            <a:chOff x="9399182" y="-2"/>
            <a:chExt cx="2961715" cy="11187339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43CC0CC-412F-694E-BA2F-CCF91349B581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1101500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400" dirty="0"/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EA9F5F80-B9F9-0F44-B698-DF454AA644D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58505" y="1321569"/>
              <a:ext cx="2639327" cy="1095417"/>
            </a:xfrm>
            <a:prstGeom prst="rect">
              <a:avLst/>
            </a:prstGeom>
          </p:spPr>
        </p:pic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6BB1AE2B-CA0A-8D42-82DE-43E63DE4AC0D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AB55C23-AD36-AE4E-9421-68AD42E3CAAC}"/>
                </a:ext>
              </a:extLst>
            </p:cNvPr>
            <p:cNvSpPr txBox="1"/>
            <p:nvPr userDrawn="1"/>
          </p:nvSpPr>
          <p:spPr>
            <a:xfrm>
              <a:off x="10147060" y="306441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1108CC98-FEA9-DC4C-807D-C762CA96FAA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12194029-9A74-1343-8288-8CF894102496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7143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1100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E41EA862-645E-0F49-9B37-60C68EF7C6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96F6A19-D6A3-6947-9A53-F14EEAE75208}"/>
                </a:ext>
              </a:extLst>
            </p:cNvPr>
            <p:cNvGrpSpPr/>
            <p:nvPr userDrawn="1"/>
          </p:nvGrpSpPr>
          <p:grpSpPr>
            <a:xfrm>
              <a:off x="9521833" y="3751281"/>
              <a:ext cx="2754815" cy="7436056"/>
              <a:chOff x="9521833" y="2531409"/>
              <a:chExt cx="2754815" cy="7436056"/>
            </a:xfrm>
          </p:grpSpPr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A4D10D26-A257-FE41-BFB0-8F5ED90CC342}"/>
                  </a:ext>
                </a:extLst>
              </p:cNvPr>
              <p:cNvSpPr txBox="1"/>
              <p:nvPr userDrawn="1"/>
            </p:nvSpPr>
            <p:spPr>
              <a:xfrm>
                <a:off x="9558507" y="3953640"/>
                <a:ext cx="123351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1100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CCBA4925-27F7-0840-AB2A-43828EF3AD6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415625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2586850C-9180-FA4E-968E-FF19A860A64D}"/>
                  </a:ext>
                </a:extLst>
              </p:cNvPr>
              <p:cNvSpPr txBox="1"/>
              <p:nvPr userDrawn="1"/>
            </p:nvSpPr>
            <p:spPr>
              <a:xfrm>
                <a:off x="9686426" y="5014567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6261B6DE-3D1B-B646-8CA5-3B37F32A674F}"/>
                  </a:ext>
                </a:extLst>
              </p:cNvPr>
              <p:cNvSpPr/>
              <p:nvPr userDrawn="1"/>
            </p:nvSpPr>
            <p:spPr>
              <a:xfrm>
                <a:off x="9541497" y="8556150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B35D847C-FBAE-9141-80AA-E929009454B3}"/>
                  </a:ext>
                </a:extLst>
              </p:cNvPr>
              <p:cNvSpPr txBox="1"/>
              <p:nvPr userDrawn="1"/>
            </p:nvSpPr>
            <p:spPr>
              <a:xfrm>
                <a:off x="9907688" y="8684950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73" name="Graphic 72">
                <a:extLst>
                  <a:ext uri="{FF2B5EF4-FFF2-40B4-BE49-F238E27FC236}">
                    <a16:creationId xmlns:a16="http://schemas.microsoft.com/office/drawing/2014/main" id="{7E3A8F17-D7F3-FB43-8FFE-8437E55D77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8695233"/>
                <a:ext cx="155227" cy="155227"/>
              </a:xfrm>
              <a:prstGeom prst="rect">
                <a:avLst/>
              </a:prstGeom>
            </p:spPr>
          </p:pic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3F05BF82-935B-0D48-A2E9-BD0093B49F2C}"/>
                  </a:ext>
                </a:extLst>
              </p:cNvPr>
              <p:cNvSpPr txBox="1"/>
              <p:nvPr userDrawn="1"/>
            </p:nvSpPr>
            <p:spPr>
              <a:xfrm>
                <a:off x="9716735" y="9264933"/>
                <a:ext cx="2413353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34938" lvl="1" indent="-131763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B65235D7-20FA-AA4C-B70A-258CF74C09E1}"/>
                  </a:ext>
                </a:extLst>
              </p:cNvPr>
              <p:cNvSpPr txBox="1"/>
              <p:nvPr userDrawn="1"/>
            </p:nvSpPr>
            <p:spPr>
              <a:xfrm>
                <a:off x="9716735" y="8946089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27581D51-2E99-9242-ABB1-C15D65232A7A}"/>
                  </a:ext>
                </a:extLst>
              </p:cNvPr>
              <p:cNvSpPr txBox="1"/>
              <p:nvPr userDrawn="1"/>
            </p:nvSpPr>
            <p:spPr>
              <a:xfrm>
                <a:off x="9716735" y="9714610"/>
                <a:ext cx="2422981" cy="1384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C5CEAEDC-18E3-9E45-9236-4044DE7F605B}"/>
                  </a:ext>
                </a:extLst>
              </p:cNvPr>
              <p:cNvSpPr/>
              <p:nvPr userDrawn="1"/>
            </p:nvSpPr>
            <p:spPr>
              <a:xfrm>
                <a:off x="9541497" y="7199494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8CF43F75-DCAC-3A4B-856C-20394D3967E0}"/>
                  </a:ext>
                </a:extLst>
              </p:cNvPr>
              <p:cNvSpPr txBox="1"/>
              <p:nvPr userDrawn="1"/>
            </p:nvSpPr>
            <p:spPr>
              <a:xfrm>
                <a:off x="9907688" y="7328293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87" name="Graphic 86">
                <a:extLst>
                  <a:ext uri="{FF2B5EF4-FFF2-40B4-BE49-F238E27FC236}">
                    <a16:creationId xmlns:a16="http://schemas.microsoft.com/office/drawing/2014/main" id="{757374C0-8D98-8A47-BE70-BB1D3E4F133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7338576"/>
                <a:ext cx="155227" cy="155227"/>
              </a:xfrm>
              <a:prstGeom prst="rect">
                <a:avLst/>
              </a:prstGeom>
            </p:spPr>
          </p:pic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7E869158-45ED-B645-9955-8A67BA7702F6}"/>
                  </a:ext>
                </a:extLst>
              </p:cNvPr>
              <p:cNvSpPr txBox="1"/>
              <p:nvPr userDrawn="1"/>
            </p:nvSpPr>
            <p:spPr>
              <a:xfrm>
                <a:off x="9701720" y="7592477"/>
                <a:ext cx="2384904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90" name="Picture 89">
                <a:extLst>
                  <a:ext uri="{FF2B5EF4-FFF2-40B4-BE49-F238E27FC236}">
                    <a16:creationId xmlns:a16="http://schemas.microsoft.com/office/drawing/2014/main" id="{BC30FFF4-CDB9-3B4D-9B7E-D33DD4F2964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498723" y="7676910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248967FA-A69C-BF4E-83CA-ACF61244C965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303787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28A219F0-9820-E94D-9B0B-FC1451A729F1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799341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6B1FFA28-D937-0546-81ED-6A667496097F}"/>
                  </a:ext>
                </a:extLst>
              </p:cNvPr>
              <p:cNvSpPr txBox="1"/>
              <p:nvPr userDrawn="1"/>
            </p:nvSpPr>
            <p:spPr>
              <a:xfrm>
                <a:off x="9686426" y="4278760"/>
                <a:ext cx="2453290" cy="65146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1050" dirty="0"/>
                  <a:t>Select and download images from the Marketing Resource Database.</a:t>
                </a:r>
              </a:p>
              <a:p>
                <a:pPr lvl="0"/>
                <a:r>
                  <a:rPr lang="en-US" sz="1050" dirty="0"/>
                  <a:t>Add the image to the placeholder.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68994775-7F6D-024C-A545-1FD8DA0B5066}"/>
                  </a:ext>
                </a:extLst>
              </p:cNvPr>
              <p:cNvSpPr txBox="1"/>
              <p:nvPr userDrawn="1"/>
            </p:nvSpPr>
            <p:spPr>
              <a:xfrm>
                <a:off x="9674267" y="5297872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AC1A251F-EFCC-D040-AD73-5A844F6C8923}"/>
                  </a:ext>
                </a:extLst>
              </p:cNvPr>
              <p:cNvSpPr txBox="1"/>
              <p:nvPr userDrawn="1"/>
            </p:nvSpPr>
            <p:spPr>
              <a:xfrm>
                <a:off x="9686426" y="5713129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0F0507AD-9F18-6D4E-9209-0C54CEF82012}"/>
                  </a:ext>
                </a:extLst>
              </p:cNvPr>
              <p:cNvSpPr txBox="1"/>
              <p:nvPr userDrawn="1"/>
            </p:nvSpPr>
            <p:spPr>
              <a:xfrm>
                <a:off x="9686426" y="6433219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4827295A-AD1C-9B4E-9832-4C95BEE1E2CF}"/>
                  </a:ext>
                </a:extLst>
              </p:cNvPr>
              <p:cNvSpPr txBox="1"/>
              <p:nvPr userDrawn="1"/>
            </p:nvSpPr>
            <p:spPr>
              <a:xfrm>
                <a:off x="9674267" y="6863782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6C8F933F-D9D9-7549-9AF5-2C614E0FD4B9}"/>
                  </a:ext>
                </a:extLst>
              </p:cNvPr>
              <p:cNvSpPr/>
              <p:nvPr userDrawn="1"/>
            </p:nvSpPr>
            <p:spPr>
              <a:xfrm>
                <a:off x="9541497" y="2531409"/>
                <a:ext cx="2735151" cy="13262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BFF57C2F-17D2-C542-9688-994363166A69}"/>
                  </a:ext>
                </a:extLst>
              </p:cNvPr>
              <p:cNvSpPr txBox="1"/>
              <p:nvPr userDrawn="1"/>
            </p:nvSpPr>
            <p:spPr>
              <a:xfrm>
                <a:off x="9907688" y="2660209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Adjust overlay text box size</a:t>
                </a:r>
              </a:p>
            </p:txBody>
          </p:sp>
          <p:pic>
            <p:nvPicPr>
              <p:cNvPr id="107" name="Graphic 106">
                <a:extLst>
                  <a:ext uri="{FF2B5EF4-FFF2-40B4-BE49-F238E27FC236}">
                    <a16:creationId xmlns:a16="http://schemas.microsoft.com/office/drawing/2014/main" id="{8F010FD2-F208-734E-83F5-73F06D91019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2670492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FE457EE7-A96E-FF4C-93C4-103A4656AC92}"/>
                  </a:ext>
                </a:extLst>
              </p:cNvPr>
              <p:cNvSpPr txBox="1"/>
              <p:nvPr userDrawn="1"/>
            </p:nvSpPr>
            <p:spPr>
              <a:xfrm>
                <a:off x="9701720" y="2924393"/>
                <a:ext cx="2214055" cy="53707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If extra space is required for content, use the size handle on this shape to extend the right edge of the shape to the “2/3rds” slide ruler mark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urn on guides (View &gt; Guides) to enable snapping.</a:t>
                </a: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F981F28-9C61-BC4E-BB91-07F303CF4C2D}"/>
                </a:ext>
              </a:extLst>
            </p:cNvPr>
            <p:cNvGrpSpPr/>
            <p:nvPr userDrawn="1"/>
          </p:nvGrpSpPr>
          <p:grpSpPr>
            <a:xfrm>
              <a:off x="9540503" y="2468708"/>
              <a:ext cx="2806644" cy="1181890"/>
              <a:chOff x="9554253" y="2414886"/>
              <a:chExt cx="2806644" cy="1181890"/>
            </a:xfrm>
          </p:grpSpPr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0DF2DCCF-DC2F-E347-A31C-CDF68A9AF8AC}"/>
                  </a:ext>
                </a:extLst>
              </p:cNvPr>
              <p:cNvGrpSpPr/>
              <p:nvPr userDrawn="1"/>
            </p:nvGrpSpPr>
            <p:grpSpPr>
              <a:xfrm>
                <a:off x="9554253" y="2414886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60" name="Group 59">
                  <a:extLst>
                    <a:ext uri="{FF2B5EF4-FFF2-40B4-BE49-F238E27FC236}">
                      <a16:creationId xmlns:a16="http://schemas.microsoft.com/office/drawing/2014/main" id="{672EE88A-201E-864B-915E-E26EB55300E2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64" name="Rectangle 63">
                    <a:extLst>
                      <a:ext uri="{FF2B5EF4-FFF2-40B4-BE49-F238E27FC236}">
                        <a16:creationId xmlns:a16="http://schemas.microsoft.com/office/drawing/2014/main" id="{1ACA2DCD-6D06-6E48-ADC7-E4700B8E7ED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400" dirty="0"/>
                  </a:p>
                </p:txBody>
              </p:sp>
              <p:sp>
                <p:nvSpPr>
                  <p:cNvPr id="65" name="TextBox 64">
                    <a:extLst>
                      <a:ext uri="{FF2B5EF4-FFF2-40B4-BE49-F238E27FC236}">
                        <a16:creationId xmlns:a16="http://schemas.microsoft.com/office/drawing/2014/main" id="{766699C1-6810-F840-B15E-9FDBF86672FE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66" name="TextBox 65">
                    <a:extLst>
                      <a:ext uri="{FF2B5EF4-FFF2-40B4-BE49-F238E27FC236}">
                        <a16:creationId xmlns:a16="http://schemas.microsoft.com/office/drawing/2014/main" id="{46B5DD35-B22A-0445-8540-375CCBA7046C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55399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63" name="Graphic 62">
                  <a:extLst>
                    <a:ext uri="{FF2B5EF4-FFF2-40B4-BE49-F238E27FC236}">
                      <a16:creationId xmlns:a16="http://schemas.microsoft.com/office/drawing/2014/main" id="{9D9E4893-D645-1746-AECB-65B57D82B9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670B2B87-7712-C049-9036-20C3AD85D78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779975" y="2820522"/>
                <a:ext cx="1580922" cy="695279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2790440184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(Stack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7070C02-8D3D-AA4B-B6D3-432E3D380E3C}"/>
              </a:ext>
            </a:extLst>
          </p:cNvPr>
          <p:cNvSpPr>
            <a:spLocks noGrp="1"/>
          </p:cNvSpPr>
          <p:nvPr>
            <p:ph sz="quarter" idx="104" hasCustomPrompt="1"/>
          </p:nvPr>
        </p:nvSpPr>
        <p:spPr>
          <a:xfrm>
            <a:off x="575736" y="1233489"/>
            <a:ext cx="11040531" cy="2381499"/>
          </a:xfrm>
        </p:spPr>
        <p:txBody>
          <a:bodyPr/>
          <a:lstStyle/>
          <a:p>
            <a:pPr lvl="0"/>
            <a:r>
              <a:rPr lang="en-US" dirty="0"/>
              <a:t>Click to add text, or use the icon to add a table</a:t>
            </a:r>
          </a:p>
          <a:p>
            <a:pPr lvl="1"/>
            <a:r>
              <a:rPr lang="en-US" dirty="0"/>
              <a:t>Body text (second level)</a:t>
            </a:r>
          </a:p>
          <a:p>
            <a:pPr lvl="2"/>
            <a:r>
              <a:rPr lang="en-US" dirty="0"/>
              <a:t>Square bullet (third level)</a:t>
            </a:r>
          </a:p>
          <a:p>
            <a:pPr lvl="3"/>
            <a:r>
              <a:rPr lang="en-US" dirty="0"/>
              <a:t>Dashed bullet (fourth level)</a:t>
            </a:r>
          </a:p>
          <a:p>
            <a:pPr lvl="4"/>
            <a:r>
              <a:rPr lang="en-US" dirty="0"/>
              <a:t>Dashed bullet (fifth level)</a:t>
            </a:r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D893719C-09E6-8446-95C5-B4FC163CB027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575736" y="3784352"/>
            <a:ext cx="11040531" cy="2381499"/>
          </a:xfrm>
        </p:spPr>
        <p:txBody>
          <a:bodyPr/>
          <a:lstStyle/>
          <a:p>
            <a:pPr lvl="0"/>
            <a:r>
              <a:rPr lang="en-US" dirty="0"/>
              <a:t>Click to add text, or use the icon to add a table</a:t>
            </a:r>
          </a:p>
          <a:p>
            <a:pPr lvl="1"/>
            <a:r>
              <a:rPr lang="en-US" dirty="0"/>
              <a:t>Body text (second level)</a:t>
            </a:r>
          </a:p>
          <a:p>
            <a:pPr lvl="2"/>
            <a:r>
              <a:rPr lang="en-US" dirty="0"/>
              <a:t>Square bullet (third level)</a:t>
            </a:r>
          </a:p>
          <a:p>
            <a:pPr lvl="3"/>
            <a:r>
              <a:rPr lang="en-US" dirty="0"/>
              <a:t>Dashed bullet (fourth level)</a:t>
            </a:r>
          </a:p>
          <a:p>
            <a:pPr lvl="4"/>
            <a:r>
              <a:rPr lang="en-US" dirty="0"/>
              <a:t>Dashed bullet (fifth level)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4A06038C-128D-734E-9D80-8DBA43C1A8F8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575733" y="6200775"/>
            <a:ext cx="9920817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2CC4C5-26A5-4F45-BB5F-846EFE4C15E8}"/>
              </a:ext>
            </a:extLst>
          </p:cNvPr>
          <p:cNvSpPr>
            <a:spLocks noGrp="1"/>
          </p:cNvSpPr>
          <p:nvPr>
            <p:ph type="dt" sz="half" idx="10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EC332D7-9604-5C49-9FCA-6EED3EB703A5}"/>
              </a:ext>
            </a:extLst>
          </p:cNvPr>
          <p:cNvSpPr>
            <a:spLocks noGrp="1"/>
          </p:cNvSpPr>
          <p:nvPr>
            <p:ph type="ftr" sz="quarter" idx="10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2381C1A-6FC0-BF4F-8124-7B7DCAB4EE32}"/>
              </a:ext>
            </a:extLst>
          </p:cNvPr>
          <p:cNvSpPr>
            <a:spLocks noGrp="1"/>
          </p:cNvSpPr>
          <p:nvPr>
            <p:ph type="sldNum" sz="quarter" idx="108"/>
          </p:nvPr>
        </p:nvSpPr>
        <p:spPr/>
        <p:txBody>
          <a:bodyPr/>
          <a:lstStyle/>
          <a:p>
            <a:pPr marL="12700"/>
            <a:fld id="{078C017C-E1B9-8443-B047-B08AAA027B45}" type="slidenum">
              <a:rPr lang="en-US" smtClean="0"/>
              <a:pPr marL="12700"/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D404F43-75AD-CE4A-A7B8-A9E3FF14D26D}"/>
              </a:ext>
            </a:extLst>
          </p:cNvPr>
          <p:cNvGrpSpPr/>
          <p:nvPr userDrawn="1"/>
        </p:nvGrpSpPr>
        <p:grpSpPr>
          <a:xfrm>
            <a:off x="12532243" y="1"/>
            <a:ext cx="3965960" cy="6857995"/>
            <a:chOff x="9399182" y="0"/>
            <a:chExt cx="2974470" cy="685799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014F8BC-C417-2D44-A2FC-282CC7C25B35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68579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400" dirty="0"/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55C16C39-1CD8-AA44-89DD-0FA2F2460F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7A7AD89C-ED0F-1B48-B39F-C037B93F2E6A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F235AC39-43AE-6F40-AB10-243ECD167CED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3D35AB1B-2CF2-9747-BA0D-43B811696209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8C7C35E0-1DE8-244B-961E-FE49AB67FB0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CAAD5832-1ACD-084B-A42D-A8C00D8AAA8B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76712AB1-475C-5B42-87BD-53A6197FA783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1677143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1100" dirty="0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4F5BD1A5-A975-234B-A289-B0633D1C295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C8881626-21AA-D14A-AD25-7121DF34EC26}"/>
                </a:ext>
              </a:extLst>
            </p:cNvPr>
            <p:cNvGrpSpPr/>
            <p:nvPr userDrawn="1"/>
          </p:nvGrpSpPr>
          <p:grpSpPr>
            <a:xfrm>
              <a:off x="9554253" y="3678850"/>
              <a:ext cx="2735151" cy="2655095"/>
              <a:chOff x="9541497" y="2555080"/>
              <a:chExt cx="2735151" cy="2655095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30746657-077C-3546-9563-5E5BA10BE248}"/>
                  </a:ext>
                </a:extLst>
              </p:cNvPr>
              <p:cNvGrpSpPr/>
              <p:nvPr userDrawn="1"/>
            </p:nvGrpSpPr>
            <p:grpSpPr>
              <a:xfrm>
                <a:off x="9541497" y="2555080"/>
                <a:ext cx="2735151" cy="2655095"/>
                <a:chOff x="9296567" y="4910411"/>
                <a:chExt cx="2735151" cy="2655095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D68127FC-49D0-D74A-9EA8-442E1736CB3A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265509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D7249D72-5168-BB4C-87A9-96903DE73F6A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Automatic paragraph spacing</a:t>
                  </a:r>
                </a:p>
              </p:txBody>
            </p:sp>
            <p:pic>
              <p:nvPicPr>
                <p:cNvPr id="88" name="Graphic 87">
                  <a:extLst>
                    <a:ext uri="{FF2B5EF4-FFF2-40B4-BE49-F238E27FC236}">
                      <a16:creationId xmlns:a16="http://schemas.microsoft.com/office/drawing/2014/main" id="{19B19338-5CD2-7648-ABBF-92C68606669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3D7DE9F1-D936-D241-897F-E8C3A31F4213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5300350"/>
                  <a:ext cx="2271204" cy="5539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sz="900" dirty="0"/>
                    <a:t>This template automatically adds paragraph spacing between first-level text paragraphs. When pasting in content, remember to delete any extra blank lines from your text.</a:t>
                  </a:r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9095461C-201B-214E-A77B-60BAC311D272}"/>
                  </a:ext>
                </a:extLst>
              </p:cNvPr>
              <p:cNvGrpSpPr/>
              <p:nvPr userDrawn="1"/>
            </p:nvGrpSpPr>
            <p:grpSpPr>
              <a:xfrm>
                <a:off x="9832250" y="3569700"/>
                <a:ext cx="2074000" cy="1627918"/>
                <a:chOff x="9832250" y="3617325"/>
                <a:chExt cx="2074000" cy="1627918"/>
              </a:xfrm>
            </p:grpSpPr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EB575104-562F-004A-B326-7B5EEDC843A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075660" y="3617325"/>
                  <a:ext cx="1830590" cy="1627918"/>
                </a:xfrm>
                <a:prstGeom prst="rect">
                  <a:avLst/>
                </a:prstGeom>
              </p:spPr>
            </p:pic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2D863755-CBBC-8B48-BCB9-6BB775EA83E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3825943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711D527A-AE54-1F49-9DBB-C3CD78A4EDF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4714218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69096FA6-8848-D14E-8857-EF56C7EEAFD3}"/>
                    </a:ext>
                  </a:extLst>
                </p:cNvPr>
                <p:cNvSpPr txBox="1"/>
                <p:nvPr userDrawn="1"/>
              </p:nvSpPr>
              <p:spPr>
                <a:xfrm>
                  <a:off x="9832250" y="3828243"/>
                  <a:ext cx="257282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0A6361FD-3788-164D-82B1-B50A51D5C49E}"/>
                    </a:ext>
                  </a:extLst>
                </p:cNvPr>
                <p:cNvSpPr txBox="1"/>
                <p:nvPr userDrawn="1"/>
              </p:nvSpPr>
              <p:spPr>
                <a:xfrm>
                  <a:off x="9832250" y="4721742"/>
                  <a:ext cx="257282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</p:grp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0B28497C-1EBC-4146-9C10-1FA4511A8EB1}"/>
                </a:ext>
              </a:extLst>
            </p:cNvPr>
            <p:cNvGrpSpPr/>
            <p:nvPr userDrawn="1"/>
          </p:nvGrpSpPr>
          <p:grpSpPr>
            <a:xfrm>
              <a:off x="9558506" y="2409506"/>
              <a:ext cx="2639327" cy="684608"/>
              <a:chOff x="9558506" y="2476806"/>
              <a:chExt cx="2639327" cy="684608"/>
            </a:xfrm>
          </p:grpSpPr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2C8A9567-D498-4E43-A058-AB8CDFBD67C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441172" y="2476806"/>
                <a:ext cx="1756661" cy="684608"/>
              </a:xfrm>
              <a:prstGeom prst="rect">
                <a:avLst/>
              </a:prstGeom>
            </p:spPr>
          </p:pic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0AE214B1-0405-3F44-B02A-A17F031B193F}"/>
                  </a:ext>
                </a:extLst>
              </p:cNvPr>
              <p:cNvSpPr/>
              <p:nvPr userDrawn="1"/>
            </p:nvSpPr>
            <p:spPr>
              <a:xfrm>
                <a:off x="9558506" y="2476806"/>
                <a:ext cx="882666" cy="684608"/>
              </a:xfrm>
              <a:prstGeom prst="rect">
                <a:avLst/>
              </a:prstGeom>
              <a:solidFill>
                <a:schemeClr val="bg2">
                  <a:alpha val="1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A031FC06-07C2-F944-B3D7-5948AB3601DB}"/>
                  </a:ext>
                </a:extLst>
              </p:cNvPr>
              <p:cNvSpPr txBox="1"/>
              <p:nvPr userDrawn="1"/>
            </p:nvSpPr>
            <p:spPr>
              <a:xfrm>
                <a:off x="9635558" y="2549805"/>
                <a:ext cx="676269" cy="43088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Note: </a:t>
                </a:r>
                <a:b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</a:br>
                <a: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For numbered lists, see the most up-to-date Asset File.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535732C-1E13-4C4A-B787-AE24B4A3C9B4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B88CD7CA-DBA3-C14E-A359-502F7DC9E08F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8A62CE80-1DCA-2E41-A9A2-0FBB26DC2E37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6B01E16F-8D56-AD42-BF0C-1B00F9E3334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400" dirty="0"/>
                  </a:p>
                </p:txBody>
              </p:sp>
              <p:sp>
                <p:nvSpPr>
                  <p:cNvPr id="48" name="TextBox 47">
                    <a:extLst>
                      <a:ext uri="{FF2B5EF4-FFF2-40B4-BE49-F238E27FC236}">
                        <a16:creationId xmlns:a16="http://schemas.microsoft.com/office/drawing/2014/main" id="{301AE0C3-91EA-2D43-B520-2DB261739B44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49" name="TextBox 48">
                    <a:extLst>
                      <a:ext uri="{FF2B5EF4-FFF2-40B4-BE49-F238E27FC236}">
                        <a16:creationId xmlns:a16="http://schemas.microsoft.com/office/drawing/2014/main" id="{1BAA935D-EF18-3C4F-87C9-9936893F982C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55399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46" name="Graphic 45">
                  <a:extLst>
                    <a:ext uri="{FF2B5EF4-FFF2-40B4-BE49-F238E27FC236}">
                      <a16:creationId xmlns:a16="http://schemas.microsoft.com/office/drawing/2014/main" id="{DA1AD802-82D2-EE49-8DC0-E5CFC77362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59B2C3CC-42E2-6D46-BF1D-66B0986526F5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29275291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365127"/>
            <a:ext cx="10515600" cy="609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00" b="1" i="0">
                <a:solidFill>
                  <a:srgbClr val="00376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LIDE TITLE. FONT: ARIAL BOLD 19PT. </a:t>
            </a:r>
            <a:br>
              <a:rPr lang="en-US" dirty="0"/>
            </a:br>
            <a:r>
              <a:rPr lang="en-US" dirty="0"/>
              <a:t>ALL CAPS. TWO LINES ONLY.</a:t>
            </a:r>
          </a:p>
        </p:txBody>
      </p:sp>
    </p:spTree>
    <p:extLst>
      <p:ext uri="{BB962C8B-B14F-4D97-AF65-F5344CB8AC3E}">
        <p14:creationId xmlns:p14="http://schemas.microsoft.com/office/powerpoint/2010/main" val="3195348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D2CA9-4A4A-479D-8A6D-DB9B26D72CD9}" type="datetimeFigureOut">
              <a:rPr lang="en-US" smtClean="0"/>
              <a:t>9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B2140-45F9-443B-BAD4-5C52E792A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36404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B61EC68-0522-AF4D-8694-0D0881A7666F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8F3FD"/>
          </a:solidFill>
        </p:spPr>
        <p:txBody>
          <a:bodyPr wrap="square" anchor="ctr">
            <a:noAutofit/>
          </a:bodyPr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a pre-designed graphic</a:t>
            </a:r>
            <a:br>
              <a:rPr lang="en-US" dirty="0"/>
            </a:br>
            <a:r>
              <a:rPr lang="en-US" dirty="0"/>
              <a:t>(e.g. ranking, quote, or map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D5405C3-B529-8445-891B-5DC49F4AC2A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7689135C-1344-F94E-8F1C-BE454F6FBFBE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575733" y="6200775"/>
            <a:ext cx="9920817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0B0DF10-D944-7E44-8C33-475A3A1A8A9D}"/>
              </a:ext>
            </a:extLst>
          </p:cNvPr>
          <p:cNvSpPr>
            <a:spLocks noGrp="1"/>
          </p:cNvSpPr>
          <p:nvPr>
            <p:ph type="dt" sz="half" idx="10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C4CCAAA-DF95-7842-8BC9-3F8AB6B46ED7}"/>
              </a:ext>
            </a:extLst>
          </p:cNvPr>
          <p:cNvSpPr>
            <a:spLocks noGrp="1"/>
          </p:cNvSpPr>
          <p:nvPr>
            <p:ph type="ftr" sz="quarter" idx="10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7E60850-6391-3041-B4D0-C92867F3DEB4}"/>
              </a:ext>
            </a:extLst>
          </p:cNvPr>
          <p:cNvSpPr>
            <a:spLocks noGrp="1"/>
          </p:cNvSpPr>
          <p:nvPr>
            <p:ph type="sldNum" sz="quarter" idx="103"/>
          </p:nvPr>
        </p:nvSpPr>
        <p:spPr>
          <a:noFill/>
        </p:spPr>
        <p:txBody>
          <a:bodyPr/>
          <a:lstStyle/>
          <a:p>
            <a:pPr marL="12700"/>
            <a:fld id="{078C017C-E1B9-8443-B047-B08AAA027B45}" type="slidenum">
              <a:rPr lang="en-US" smtClean="0"/>
              <a:pPr marL="12700"/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7D02F64-F08E-0F4E-B529-5BC62DBE3DF1}"/>
              </a:ext>
            </a:extLst>
          </p:cNvPr>
          <p:cNvGrpSpPr/>
          <p:nvPr userDrawn="1"/>
        </p:nvGrpSpPr>
        <p:grpSpPr>
          <a:xfrm>
            <a:off x="12532243" y="-1"/>
            <a:ext cx="3832280" cy="6858001"/>
            <a:chOff x="9144000" y="-1"/>
            <a:chExt cx="2874210" cy="6858001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502E77A-94C0-9946-8D2F-BE9E8B1B62E9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400" dirty="0"/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527EA42E-6AC0-B547-9370-A426FC3DA920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318F7B6C-E16E-7A45-B2AD-D99A7D30D7AC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23351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1100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AA79330A-89D2-B64E-BB5A-38736825036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9688A793-3D82-5747-92B2-2E732EDCE5AE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B6DBEC5E-BD0E-9241-A3E4-2F56C03C1A05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FFA48DED-F3DA-EC47-97E5-E6739BF46422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82CFB4CC-B76D-A94D-AB78-1A7F4E4CE9E0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73" name="Graphic 72">
                  <a:extLst>
                    <a:ext uri="{FF2B5EF4-FFF2-40B4-BE49-F238E27FC236}">
                      <a16:creationId xmlns:a16="http://schemas.microsoft.com/office/drawing/2014/main" id="{786BEA28-9B2D-2C46-85BC-0D2CF1D6365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71831B6F-88D4-2D4F-9998-C1B41572775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EFBA3B08-C039-6D48-BC25-182C2C66DF32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76" name="TextBox 75">
                  <a:extLst>
                    <a:ext uri="{FF2B5EF4-FFF2-40B4-BE49-F238E27FC236}">
                      <a16:creationId xmlns:a16="http://schemas.microsoft.com/office/drawing/2014/main" id="{5FCB126F-01A3-9A47-AD52-F8C4B63FEC23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6136081A-ADDF-5648-821B-4397ABC813A2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A1A968B8-5BC5-284F-898B-B6637A41DEF5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51A95283-5490-1742-84A3-68783BE54308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68" name="Graphic 67">
                  <a:extLst>
                    <a:ext uri="{FF2B5EF4-FFF2-40B4-BE49-F238E27FC236}">
                      <a16:creationId xmlns:a16="http://schemas.microsoft.com/office/drawing/2014/main" id="{986C6630-8E1B-6642-9DBA-0BE12B3DE85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F073B232-F982-1B48-B310-DCE7A95E03B2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70" name="Picture 69">
                  <a:extLst>
                    <a:ext uri="{FF2B5EF4-FFF2-40B4-BE49-F238E27FC236}">
                      <a16:creationId xmlns:a16="http://schemas.microsoft.com/office/drawing/2014/main" id="{808FFCB2-7DF3-CA48-B29E-9FEAAB8F2B7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07236D2B-D298-EB49-8ABB-E7D7376416F2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A2A47C15-08E4-7049-935A-EDE4F9DCF822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64" name="TextBox 63">
                  <a:extLst>
                    <a:ext uri="{FF2B5EF4-FFF2-40B4-BE49-F238E27FC236}">
                      <a16:creationId xmlns:a16="http://schemas.microsoft.com/office/drawing/2014/main" id="{FC6539D2-0500-124D-81F7-76B67EA90792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65" name="TextBox 64">
                  <a:extLst>
                    <a:ext uri="{FF2B5EF4-FFF2-40B4-BE49-F238E27FC236}">
                      <a16:creationId xmlns:a16="http://schemas.microsoft.com/office/drawing/2014/main" id="{F1F80A10-B10E-A846-8794-521C2A75678D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1050" dirty="0"/>
                    <a:t>Select and download images from the Marketing Resource Database.</a:t>
                  </a:r>
                </a:p>
                <a:p>
                  <a:pPr lvl="0"/>
                  <a:r>
                    <a:rPr lang="en-US" sz="1050" dirty="0"/>
                    <a:t>Add the image to the placeholder.</a:t>
                  </a:r>
                </a:p>
              </p:txBody>
            </p:sp>
          </p:grp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170F57E5-FA5E-C04D-ABAC-987519A35248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54C63403-02A3-EB42-BBF7-B19D923AF7CB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73B0C4AD-7511-3A44-A092-8D4C4CCE19ED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9689DDA7-3FF5-0447-8D1D-746B7CEB0585}"/>
                  </a:ext>
                </a:extLst>
              </p:cNvPr>
              <p:cNvSpPr txBox="1"/>
              <p:nvPr userDrawn="1"/>
            </p:nvSpPr>
            <p:spPr>
              <a:xfrm>
                <a:off x="9419085" y="3095480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868625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ingle Large Stat Over Photo (Ful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extBox 91">
            <a:extLst>
              <a:ext uri="{FF2B5EF4-FFF2-40B4-BE49-F238E27FC236}">
                <a16:creationId xmlns:a16="http://schemas.microsoft.com/office/drawing/2014/main" id="{23B4BB76-40B0-E54D-B448-1587B8F2254F}"/>
              </a:ext>
            </a:extLst>
          </p:cNvPr>
          <p:cNvSpPr txBox="1">
            <a:spLocks/>
          </p:cNvSpPr>
          <p:nvPr userDrawn="1"/>
        </p:nvSpPr>
        <p:spPr>
          <a:xfrm>
            <a:off x="0" y="6200777"/>
            <a:ext cx="12192000" cy="657225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9B1C78-E256-DF49-A6F9-68ADE4F58193}"/>
              </a:ext>
            </a:extLst>
          </p:cNvPr>
          <p:cNvGrpSpPr/>
          <p:nvPr userDrawn="1"/>
        </p:nvGrpSpPr>
        <p:grpSpPr>
          <a:xfrm>
            <a:off x="-339919" y="-244225"/>
            <a:ext cx="12877237" cy="7348688"/>
            <a:chOff x="-254939" y="-244225"/>
            <a:chExt cx="9657928" cy="7348688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85C25219-E915-0247-86A1-22585D6E3093}"/>
                </a:ext>
              </a:extLst>
            </p:cNvPr>
            <p:cNvGrpSpPr/>
            <p:nvPr userDrawn="1"/>
          </p:nvGrpSpPr>
          <p:grpSpPr>
            <a:xfrm>
              <a:off x="433266" y="6867287"/>
              <a:ext cx="8280398" cy="235792"/>
              <a:chOff x="431801" y="-235792"/>
              <a:chExt cx="4400550" cy="235792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E473508A-53E9-294C-8A55-AA67E2E362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AEE1771F-109C-B54D-8B81-A3B0F5D0C4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1062115-5946-2E4B-8C29-C85175435B4D}"/>
                </a:ext>
              </a:extLst>
            </p:cNvPr>
            <p:cNvGrpSpPr/>
            <p:nvPr userDrawn="1"/>
          </p:nvGrpSpPr>
          <p:grpSpPr>
            <a:xfrm>
              <a:off x="-254939" y="6202098"/>
              <a:ext cx="251461" cy="505509"/>
              <a:chOff x="-256403" y="6200775"/>
              <a:chExt cx="251461" cy="505509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47C326A5-BE4B-1442-AC13-B44C5D4792CF}"/>
                  </a:ext>
                </a:extLst>
              </p:cNvPr>
              <p:cNvGrpSpPr/>
              <p:nvPr userDrawn="1"/>
            </p:nvGrpSpPr>
            <p:grpSpPr>
              <a:xfrm rot="16200000">
                <a:off x="-383427" y="6327799"/>
                <a:ext cx="505509" cy="251461"/>
                <a:chOff x="431800" y="-235792"/>
                <a:chExt cx="4400551" cy="235792"/>
              </a:xfrm>
            </p:grpSpPr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DBB5637D-AB15-E04F-A1B6-3A283BA1C6F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A1D7E4D6-88A2-7E4B-9284-DCED9F79105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F393F5F7-24EF-2745-BC86-DF4C9F389FCB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</p:grp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F75E910D-9604-9D4F-90E2-EF81D37C867B}"/>
                  </a:ext>
                </a:extLst>
              </p:cNvPr>
              <p:cNvSpPr txBox="1"/>
              <p:nvPr userDrawn="1"/>
            </p:nvSpPr>
            <p:spPr>
              <a:xfrm rot="16200000">
                <a:off x="-310209" y="6399801"/>
                <a:ext cx="359073" cy="129266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FOOT </a:t>
                </a:r>
                <a:b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</a:b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NOTES 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92BBFA4-5FEF-524D-AD01-F867D593722F}"/>
                </a:ext>
              </a:extLst>
            </p:cNvPr>
            <p:cNvGrpSpPr/>
            <p:nvPr userDrawn="1"/>
          </p:nvGrpSpPr>
          <p:grpSpPr>
            <a:xfrm>
              <a:off x="433264" y="-244225"/>
              <a:ext cx="8280401" cy="235792"/>
              <a:chOff x="431800" y="-240735"/>
              <a:chExt cx="8280401" cy="235792"/>
            </a:xfrm>
          </p:grpSpPr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5A2E8C57-7A20-F840-9308-5611AA6C77E3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35EF9DEA-530C-4B42-B0F7-9C7D4C25A0A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B71C38FE-1DD7-7B4D-B6D4-CEB6C6D31A2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B274FA2B-3A29-0F4D-A4D3-1E12B5D4CEF3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</p:grp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AF99FA91-ECED-4D43-BCE4-7FAD08FA3B04}"/>
                  </a:ext>
                </a:extLst>
              </p:cNvPr>
              <p:cNvSpPr txBox="1"/>
              <p:nvPr userDrawn="1"/>
            </p:nvSpPr>
            <p:spPr>
              <a:xfrm>
                <a:off x="3895101" y="-176700"/>
                <a:ext cx="1353812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KEEP CONTENT WITHIN THIS AREA </a:t>
                </a:r>
              </a:p>
            </p:txBody>
          </p:sp>
          <p:cxnSp>
            <p:nvCxnSpPr>
              <p:cNvPr id="68" name="Straight Arrow Connector 67">
                <a:extLst>
                  <a:ext uri="{FF2B5EF4-FFF2-40B4-BE49-F238E27FC236}">
                    <a16:creationId xmlns:a16="http://schemas.microsoft.com/office/drawing/2014/main" id="{B34B6B73-1081-0E44-AF98-571C7E0BD066}"/>
                  </a:ext>
                </a:extLst>
              </p:cNvPr>
              <p:cNvCxnSpPr>
                <a:cxnSpLocks/>
                <a:stCxn id="67" idx="1"/>
                <a:endCxn id="72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3CF09107-5C11-FD44-BFDC-AE93DE20F6F2}"/>
                  </a:ext>
                </a:extLst>
              </p:cNvPr>
              <p:cNvCxnSpPr>
                <a:cxnSpLocks/>
                <a:stCxn id="67" idx="3"/>
                <a:endCxn id="72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D62B5D38-D820-3845-8687-4B3E3C84C708}"/>
                </a:ext>
              </a:extLst>
            </p:cNvPr>
            <p:cNvGrpSpPr/>
            <p:nvPr userDrawn="1"/>
          </p:nvGrpSpPr>
          <p:grpSpPr>
            <a:xfrm rot="16200000">
              <a:off x="9024504" y="6329122"/>
              <a:ext cx="505509" cy="251461"/>
              <a:chOff x="431801" y="-235792"/>
              <a:chExt cx="4400550" cy="235792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872C320-D6C1-DA4E-9AD7-B7A0A8B4D5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EAF17C3F-BCF7-E84D-B2B3-0197BB3DE5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6482D8A-4DDA-CF4B-9EFA-753740F85D70}"/>
                </a:ext>
              </a:extLst>
            </p:cNvPr>
            <p:cNvGrpSpPr/>
            <p:nvPr userDrawn="1"/>
          </p:nvGrpSpPr>
          <p:grpSpPr>
            <a:xfrm>
              <a:off x="-254939" y="420689"/>
              <a:ext cx="9657928" cy="5746484"/>
              <a:chOff x="-254939" y="1236195"/>
              <a:chExt cx="9657928" cy="4930977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BA0B2552-2063-B94B-8753-4FFD2EFDAEFA}"/>
                  </a:ext>
                </a:extLst>
              </p:cNvPr>
              <p:cNvGrpSpPr/>
              <p:nvPr userDrawn="1"/>
            </p:nvGrpSpPr>
            <p:grpSpPr>
              <a:xfrm>
                <a:off x="-254939" y="1236195"/>
                <a:ext cx="251461" cy="4930977"/>
                <a:chOff x="-256403" y="1304924"/>
                <a:chExt cx="251461" cy="4843215"/>
              </a:xfrm>
            </p:grpSpPr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3E908781-EB9C-7F43-9C77-51D6DF0D08FB}"/>
                    </a:ext>
                  </a:extLst>
                </p:cNvPr>
                <p:cNvGrpSpPr/>
                <p:nvPr userDrawn="1"/>
              </p:nvGrpSpPr>
              <p:grpSpPr>
                <a:xfrm rot="16200000">
                  <a:off x="-2552280" y="3600801"/>
                  <a:ext cx="4843215" cy="251461"/>
                  <a:chOff x="431800" y="-235792"/>
                  <a:chExt cx="4400551" cy="235792"/>
                </a:xfrm>
              </p:grpSpPr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6348B6E7-397E-7443-A5B3-B13B784EE033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832351" y="-235792"/>
                    <a:ext cx="0" cy="235792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DCC8C989-AEB2-1342-A4F6-C0CE5593C320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31801" y="-235792"/>
                    <a:ext cx="0" cy="235791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2" name="Rectangle 81">
                    <a:extLst>
                      <a:ext uri="{FF2B5EF4-FFF2-40B4-BE49-F238E27FC236}">
                        <a16:creationId xmlns:a16="http://schemas.microsoft.com/office/drawing/2014/main" id="{E694B1DC-BFA9-8E48-96CE-C60F1DE2D2C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2514180" y="-2318172"/>
                    <a:ext cx="235791" cy="4400551"/>
                  </a:xfrm>
                  <a:prstGeom prst="rect">
                    <a:avLst/>
                  </a:prstGeom>
                  <a:solidFill>
                    <a:schemeClr val="accent2">
                      <a:alpha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400" dirty="0"/>
                  </a:p>
                </p:txBody>
              </p:sp>
            </p:grp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FC816E2B-0C94-D948-9F64-0CD5F0050148}"/>
                    </a:ext>
                  </a:extLst>
                </p:cNvPr>
                <p:cNvSpPr txBox="1"/>
                <p:nvPr userDrawn="1"/>
              </p:nvSpPr>
              <p:spPr>
                <a:xfrm rot="16200000">
                  <a:off x="-891346" y="3686135"/>
                  <a:ext cx="1521348" cy="80792"/>
                </a:xfrm>
                <a:prstGeom prst="rect">
                  <a:avLst/>
                </a:prstGeom>
              </p:spPr>
              <p:txBody>
                <a:bodyPr vert="horz" wrap="none" lIns="108000" tIns="0" rIns="108000" bIns="0" rtlCol="0" anchor="ctr">
                  <a:spAutoFit/>
                </a:bodyPr>
                <a:lstStyle/>
                <a:p>
                  <a:pPr algn="ctr"/>
                  <a:r>
                    <a:rPr lang="en-US" sz="7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 KEEP CONTENT WITHIN THIS AREA </a:t>
                  </a:r>
                </a:p>
              </p:txBody>
            </p:sp>
            <p:cxnSp>
              <p:nvCxnSpPr>
                <p:cNvPr id="76" name="Straight Arrow Connector 75">
                  <a:extLst>
                    <a:ext uri="{FF2B5EF4-FFF2-40B4-BE49-F238E27FC236}">
                      <a16:creationId xmlns:a16="http://schemas.microsoft.com/office/drawing/2014/main" id="{9C4CC1A9-A535-1144-8940-768AF7ABE4E6}"/>
                    </a:ext>
                  </a:extLst>
                </p:cNvPr>
                <p:cNvCxnSpPr>
                  <a:cxnSpLocks/>
                  <a:stCxn id="75" idx="1"/>
                </p:cNvCxnSpPr>
                <p:nvPr userDrawn="1"/>
              </p:nvCxnSpPr>
              <p:spPr>
                <a:xfrm>
                  <a:off x="-130672" y="4603424"/>
                  <a:ext cx="0" cy="1544714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Arrow Connector 76">
                  <a:extLst>
                    <a:ext uri="{FF2B5EF4-FFF2-40B4-BE49-F238E27FC236}">
                      <a16:creationId xmlns:a16="http://schemas.microsoft.com/office/drawing/2014/main" id="{019F48B9-23E2-DA45-B7FC-8F11E3B079C4}"/>
                    </a:ext>
                  </a:extLst>
                </p:cNvPr>
                <p:cNvCxnSpPr>
                  <a:cxnSpLocks/>
                  <a:stCxn id="75" idx="3"/>
                </p:cNvCxnSpPr>
                <p:nvPr userDrawn="1"/>
              </p:nvCxnSpPr>
              <p:spPr>
                <a:xfrm flipH="1" flipV="1">
                  <a:off x="-130673" y="1304928"/>
                  <a:ext cx="1" cy="1544710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D55D1E59-56A3-A24A-8DE5-328F3950FCC9}"/>
                  </a:ext>
                </a:extLst>
              </p:cNvPr>
              <p:cNvGrpSpPr/>
              <p:nvPr userDrawn="1"/>
            </p:nvGrpSpPr>
            <p:grpSpPr>
              <a:xfrm rot="16200000">
                <a:off x="6812666" y="3576847"/>
                <a:ext cx="4929186" cy="251461"/>
                <a:chOff x="431801" y="-235792"/>
                <a:chExt cx="4462347" cy="235792"/>
              </a:xfrm>
            </p:grpSpPr>
            <p:cxnSp>
              <p:nvCxnSpPr>
                <p:cNvPr id="96" name="Straight Connector 95">
                  <a:extLst>
                    <a:ext uri="{FF2B5EF4-FFF2-40B4-BE49-F238E27FC236}">
                      <a16:creationId xmlns:a16="http://schemas.microsoft.com/office/drawing/2014/main" id="{E20DEBD3-0096-5648-87C1-52DA194811C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94148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>
                  <a:extLst>
                    <a:ext uri="{FF2B5EF4-FFF2-40B4-BE49-F238E27FC236}">
                      <a16:creationId xmlns:a16="http://schemas.microsoft.com/office/drawing/2014/main" id="{FBF68087-6890-E04C-840F-0B5D5B30DC9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5BB4E0DB-92A2-CE4B-A4D4-C21071C96CD3}"/>
                </a:ext>
              </a:extLst>
            </p:cNvPr>
            <p:cNvGrpSpPr/>
            <p:nvPr userDrawn="1"/>
          </p:nvGrpSpPr>
          <p:grpSpPr>
            <a:xfrm>
              <a:off x="3092162" y="6868673"/>
              <a:ext cx="2992631" cy="235790"/>
              <a:chOff x="3090129" y="6869197"/>
              <a:chExt cx="2992631" cy="235790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57650860-F98A-2D48-91EC-A5A2807BDC6C}"/>
                  </a:ext>
                </a:extLst>
              </p:cNvPr>
              <p:cNvGrpSpPr/>
              <p:nvPr userDrawn="1"/>
            </p:nvGrpSpPr>
            <p:grpSpPr>
              <a:xfrm>
                <a:off x="3184525" y="6869197"/>
                <a:ext cx="2774950" cy="60992"/>
                <a:chOff x="3184525" y="6869196"/>
                <a:chExt cx="2774950" cy="235791"/>
              </a:xfrm>
            </p:grpSpPr>
            <p:cxnSp>
              <p:nvCxnSpPr>
                <p:cNvPr id="110" name="Straight Connector 109">
                  <a:extLst>
                    <a:ext uri="{FF2B5EF4-FFF2-40B4-BE49-F238E27FC236}">
                      <a16:creationId xmlns:a16="http://schemas.microsoft.com/office/drawing/2014/main" id="{C0D7E8B1-DE64-BA4B-916D-7BA67CF2D79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347BA98E-93B4-5545-9E4E-912B913A534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E53E46C5-BA51-D94B-A108-538A6E5925D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18481EF9-B9B8-5944-A70D-4FBD6F01668A}"/>
                  </a:ext>
                </a:extLst>
              </p:cNvPr>
              <p:cNvSpPr txBox="1"/>
              <p:nvPr userDrawn="1"/>
            </p:nvSpPr>
            <p:spPr>
              <a:xfrm>
                <a:off x="3090129" y="6954537"/>
                <a:ext cx="216406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1/3 </a:t>
                </a:r>
                <a:r>
                  <a:rPr lang="en-US" sz="650" kern="1200" baseline="300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RD </a:t>
                </a: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9B8FEDA2-CA5E-DB41-B9C8-5477A54FB095}"/>
                  </a:ext>
                </a:extLst>
              </p:cNvPr>
              <p:cNvSpPr txBox="1"/>
              <p:nvPr userDrawn="1"/>
            </p:nvSpPr>
            <p:spPr>
              <a:xfrm>
                <a:off x="4468755" y="6954537"/>
                <a:ext cx="209192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HALF 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95AD9D7F-B960-1248-B6F7-12B9FEDAAF39}"/>
                  </a:ext>
                </a:extLst>
              </p:cNvPr>
              <p:cNvSpPr txBox="1"/>
              <p:nvPr userDrawn="1"/>
            </p:nvSpPr>
            <p:spPr>
              <a:xfrm>
                <a:off x="5838703" y="6954537"/>
                <a:ext cx="244057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2/3 </a:t>
                </a:r>
                <a:r>
                  <a:rPr lang="en-US" sz="650" baseline="300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RDS </a:t>
                </a:r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F018DC65-22A5-C346-8BF0-7E16A1FC62E9}"/>
                  </a:ext>
                </a:extLst>
              </p:cNvPr>
              <p:cNvGrpSpPr/>
              <p:nvPr userDrawn="1"/>
            </p:nvGrpSpPr>
            <p:grpSpPr>
              <a:xfrm>
                <a:off x="3184525" y="7040714"/>
                <a:ext cx="2774950" cy="64273"/>
                <a:chOff x="3184525" y="6869196"/>
                <a:chExt cx="2774950" cy="235791"/>
              </a:xfrm>
            </p:grpSpPr>
            <p:cxnSp>
              <p:nvCxnSpPr>
                <p:cNvPr id="107" name="Straight Connector 106">
                  <a:extLst>
                    <a:ext uri="{FF2B5EF4-FFF2-40B4-BE49-F238E27FC236}">
                      <a16:creationId xmlns:a16="http://schemas.microsoft.com/office/drawing/2014/main" id="{E67C92E6-78A9-F947-92B0-F6468A7334E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Straight Connector 107">
                  <a:extLst>
                    <a:ext uri="{FF2B5EF4-FFF2-40B4-BE49-F238E27FC236}">
                      <a16:creationId xmlns:a16="http://schemas.microsoft.com/office/drawing/2014/main" id="{D27020A8-1DFE-AD41-98F4-8C87CFF0EED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Straight Connector 108">
                  <a:extLst>
                    <a:ext uri="{FF2B5EF4-FFF2-40B4-BE49-F238E27FC236}">
                      <a16:creationId xmlns:a16="http://schemas.microsoft.com/office/drawing/2014/main" id="{FADC7F65-2D38-BF45-951F-C8F488F9763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7" name="Picture Placeholder 10">
            <a:extLst>
              <a:ext uri="{FF2B5EF4-FFF2-40B4-BE49-F238E27FC236}">
                <a16:creationId xmlns:a16="http://schemas.microsoft.com/office/drawing/2014/main" id="{D9C96E41-86C9-6047-85B6-214B5F3F109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Drag image onto slide to add photo </a:t>
            </a:r>
          </a:p>
        </p:txBody>
      </p:sp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DC9253A4-356A-9740-9187-428DE58AB885}"/>
              </a:ext>
            </a:extLst>
          </p:cNvPr>
          <p:cNvSpPr>
            <a:spLocks noGrp="1"/>
          </p:cNvSpPr>
          <p:nvPr>
            <p:ph type="body" sz="quarter" idx="200"/>
          </p:nvPr>
        </p:nvSpPr>
        <p:spPr>
          <a:xfrm>
            <a:off x="1" y="0"/>
            <a:ext cx="4248743" cy="6858000"/>
          </a:xfrm>
          <a:gradFill>
            <a:gsLst>
              <a:gs pos="13000">
                <a:schemeClr val="accent1"/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lIns="432000" rIns="360000" bIns="36000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240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 sz="44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1518A119-6232-A242-B4A2-83D06D216BA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575733" y="6200775"/>
            <a:ext cx="3081867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bg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bg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bg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bg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bg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bg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bg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bg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Click to add source and footnotes. (Level 1 formatting for source, and levels 2+ for footnote numbering.) If over 4 lines, move footnote text to “Footnotes Appendix” slide and write “See Appendix for footnotes #-#” with level 1 formatting. </a:t>
            </a:r>
          </a:p>
          <a:p>
            <a:pPr lvl="1"/>
            <a:r>
              <a:rPr lang="en-US" dirty="0"/>
              <a:t> Footnotes – Levels 2-9 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E84BD5-7F9D-AE47-BCAB-D3922B3DA1BC}"/>
              </a:ext>
            </a:extLst>
          </p:cNvPr>
          <p:cNvSpPr>
            <a:spLocks noGrp="1"/>
          </p:cNvSpPr>
          <p:nvPr>
            <p:ph type="dt" sz="half" idx="1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FF406A-59D4-BB4E-A45D-EEB4EEBCE329}"/>
              </a:ext>
            </a:extLst>
          </p:cNvPr>
          <p:cNvSpPr>
            <a:spLocks noGrp="1"/>
          </p:cNvSpPr>
          <p:nvPr>
            <p:ph type="ftr" sz="quarter" idx="1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9E870A-0204-114F-9189-EE4D27C77AFE}"/>
              </a:ext>
            </a:extLst>
          </p:cNvPr>
          <p:cNvSpPr>
            <a:spLocks noGrp="1"/>
          </p:cNvSpPr>
          <p:nvPr>
            <p:ph type="sldNum" sz="quarter" idx="1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12700"/>
            <a:fld id="{078C017C-E1B9-8443-B047-B08AAA027B45}" type="slidenum">
              <a:rPr lang="en-US" smtClean="0"/>
              <a:pPr marL="12700"/>
              <a:t>‹#›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7197522-BF99-8445-8C68-D6578288AD2D}"/>
              </a:ext>
            </a:extLst>
          </p:cNvPr>
          <p:cNvGrpSpPr/>
          <p:nvPr userDrawn="1"/>
        </p:nvGrpSpPr>
        <p:grpSpPr>
          <a:xfrm>
            <a:off x="12532244" y="-2"/>
            <a:ext cx="3948953" cy="9689553"/>
            <a:chOff x="9399182" y="-2"/>
            <a:chExt cx="2961715" cy="9689553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058DECCA-09EF-5C43-8453-6890A89614B0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51547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400" dirty="0"/>
            </a:p>
          </p:txBody>
        </p:sp>
        <p:pic>
          <p:nvPicPr>
            <p:cNvPr id="162" name="Picture 161">
              <a:extLst>
                <a:ext uri="{FF2B5EF4-FFF2-40B4-BE49-F238E27FC236}">
                  <a16:creationId xmlns:a16="http://schemas.microsoft.com/office/drawing/2014/main" id="{512A7C54-DE21-4344-96B4-6CF162E7EF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58506" y="1325046"/>
              <a:ext cx="2639326" cy="784740"/>
            </a:xfrm>
            <a:prstGeom prst="rect">
              <a:avLst/>
            </a:prstGeom>
          </p:spPr>
        </p:pic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21F4F9E6-E172-8440-B1C2-D5D4BD628238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9C96D69A-1828-5C46-BC13-9C94FCBFE241}"/>
                </a:ext>
              </a:extLst>
            </p:cNvPr>
            <p:cNvSpPr txBox="1"/>
            <p:nvPr userDrawn="1"/>
          </p:nvSpPr>
          <p:spPr>
            <a:xfrm>
              <a:off x="10147060" y="306441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 Access programmed text formats by using the ‘Indent More’ button to change the indent level. </a:t>
              </a:r>
            </a:p>
          </p:txBody>
        </p:sp>
        <p:pic>
          <p:nvPicPr>
            <p:cNvPr id="156" name="Picture 155">
              <a:extLst>
                <a:ext uri="{FF2B5EF4-FFF2-40B4-BE49-F238E27FC236}">
                  <a16:creationId xmlns:a16="http://schemas.microsoft.com/office/drawing/2014/main" id="{8103D77D-8415-7749-BCBB-4905B395A7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A1DB698E-0CEF-AD45-8121-4CD4E026F6C2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734851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1100" dirty="0">
                  <a:solidFill>
                    <a:schemeClr val="bg1"/>
                  </a:solidFill>
                </a:rPr>
                <a:t> TEXT FORMATS IN THIS LAYOUT </a:t>
              </a:r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E884F550-2205-3843-81FA-454481A85FD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2E1247F-233F-F94C-98B1-C8EC05E1729D}"/>
                </a:ext>
              </a:extLst>
            </p:cNvPr>
            <p:cNvGrpSpPr/>
            <p:nvPr userDrawn="1"/>
          </p:nvGrpSpPr>
          <p:grpSpPr>
            <a:xfrm>
              <a:off x="9521833" y="2253495"/>
              <a:ext cx="2754815" cy="7436056"/>
              <a:chOff x="9521833" y="2531409"/>
              <a:chExt cx="2754815" cy="7436056"/>
            </a:xfrm>
          </p:grpSpPr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E8B2BC36-E252-F449-91B0-E44A4C6E88AC}"/>
                  </a:ext>
                </a:extLst>
              </p:cNvPr>
              <p:cNvSpPr txBox="1"/>
              <p:nvPr userDrawn="1"/>
            </p:nvSpPr>
            <p:spPr>
              <a:xfrm>
                <a:off x="9558507" y="3953640"/>
                <a:ext cx="129121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1100" dirty="0">
                    <a:solidFill>
                      <a:schemeClr val="bg1"/>
                    </a:solidFill>
                  </a:rPr>
                  <a:t> HOW TO ADD AN IMAGE </a:t>
                </a:r>
              </a:p>
            </p:txBody>
          </p: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828801CA-93C8-9E4C-AB3C-451F07B6D7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415625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75B9A3BF-AC32-DA42-A161-4BB2E2281D4D}"/>
                  </a:ext>
                </a:extLst>
              </p:cNvPr>
              <p:cNvSpPr txBox="1"/>
              <p:nvPr userDrawn="1"/>
            </p:nvSpPr>
            <p:spPr>
              <a:xfrm>
                <a:off x="9686426" y="5014567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 Method 1: </a:t>
                </a:r>
                <a:r>
                  <a:rPr lang="en-US" sz="600" b="0" dirty="0"/>
                  <a:t> from file browser </a:t>
                </a:r>
              </a:p>
              <a:p>
                <a:pPr lvl="1">
                  <a:buNone/>
                </a:pPr>
                <a:r>
                  <a:rPr lang="en-US" sz="1050" dirty="0"/>
                  <a:t> Drag the image onto the slide. </a:t>
                </a:r>
              </a:p>
            </p:txBody>
          </p:sp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924F2A4D-5E0A-1240-8BED-C913FAAFD6F2}"/>
                  </a:ext>
                </a:extLst>
              </p:cNvPr>
              <p:cNvSpPr/>
              <p:nvPr userDrawn="1"/>
            </p:nvSpPr>
            <p:spPr>
              <a:xfrm>
                <a:off x="9541497" y="8556150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8A3C99CB-E95A-B74E-BE7F-0792FAF9671D}"/>
                  </a:ext>
                </a:extLst>
              </p:cNvPr>
              <p:cNvSpPr txBox="1"/>
              <p:nvPr userDrawn="1"/>
            </p:nvSpPr>
            <p:spPr>
              <a:xfrm>
                <a:off x="9907688" y="8684950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TIP: Change Image </a:t>
                </a:r>
              </a:p>
            </p:txBody>
          </p:sp>
          <p:pic>
            <p:nvPicPr>
              <p:cNvPr id="150" name="Graphic 149">
                <a:extLst>
                  <a:ext uri="{FF2B5EF4-FFF2-40B4-BE49-F238E27FC236}">
                    <a16:creationId xmlns:a16="http://schemas.microsoft.com/office/drawing/2014/main" id="{9D2838B6-04DF-EB45-9DD9-3C36BB13157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8695233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C2A77126-7E90-1843-AE86-D347F2D075EE}"/>
                  </a:ext>
                </a:extLst>
              </p:cNvPr>
              <p:cNvSpPr txBox="1"/>
              <p:nvPr userDrawn="1"/>
            </p:nvSpPr>
            <p:spPr>
              <a:xfrm>
                <a:off x="9716735" y="9264933"/>
                <a:ext cx="2413353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34938" lvl="1" indent="-131763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 Deleting the image may bring the image placeholder to the top layer. Right-click on the placeholder and choose “Send to Back”. </a:t>
                </a:r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0FAD37BE-7E80-0046-A61C-0B15F860162C}"/>
                  </a:ext>
                </a:extLst>
              </p:cNvPr>
              <p:cNvSpPr txBox="1"/>
              <p:nvPr userDrawn="1"/>
            </p:nvSpPr>
            <p:spPr>
              <a:xfrm>
                <a:off x="9716735" y="8946089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 First, delete the existing image to reset the photo placeholder functionality. </a:t>
                </a: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5B98A223-2512-6C4D-87C9-B2267FF7CCD9}"/>
                  </a:ext>
                </a:extLst>
              </p:cNvPr>
              <p:cNvSpPr txBox="1"/>
              <p:nvPr userDrawn="1"/>
            </p:nvSpPr>
            <p:spPr>
              <a:xfrm>
                <a:off x="9716735" y="9714610"/>
                <a:ext cx="2422981" cy="1384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 You can now add a new image as normal. </a:t>
                </a:r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330B2B4B-905D-9A46-A3F8-DF5095A8A808}"/>
                  </a:ext>
                </a:extLst>
              </p:cNvPr>
              <p:cNvSpPr/>
              <p:nvPr userDrawn="1"/>
            </p:nvSpPr>
            <p:spPr>
              <a:xfrm>
                <a:off x="9541497" y="7199494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2150B26E-162C-6547-A215-96C9E1F3D965}"/>
                  </a:ext>
                </a:extLst>
              </p:cNvPr>
              <p:cNvSpPr txBox="1"/>
              <p:nvPr userDrawn="1"/>
            </p:nvSpPr>
            <p:spPr>
              <a:xfrm>
                <a:off x="9907688" y="7328293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TIP: Crop Image </a:t>
                </a:r>
              </a:p>
            </p:txBody>
          </p:sp>
          <p:pic>
            <p:nvPicPr>
              <p:cNvPr id="145" name="Graphic 144">
                <a:extLst>
                  <a:ext uri="{FF2B5EF4-FFF2-40B4-BE49-F238E27FC236}">
                    <a16:creationId xmlns:a16="http://schemas.microsoft.com/office/drawing/2014/main" id="{B7C5CED2-A0E3-BC4E-91D6-56BB03F90E1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7338576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BF216341-3721-3F4D-8307-92E095EF4A01}"/>
                  </a:ext>
                </a:extLst>
              </p:cNvPr>
              <p:cNvSpPr txBox="1"/>
              <p:nvPr userDrawn="1"/>
            </p:nvSpPr>
            <p:spPr>
              <a:xfrm>
                <a:off x="9701720" y="7592477"/>
                <a:ext cx="2384904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Right-click on the image. 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Choose “Crop” from the menu. ( ) 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Adjust the size and position of the image. 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Press Esc or click outside the image area to exit the cropping mode. </a:t>
                </a:r>
              </a:p>
            </p:txBody>
          </p:sp>
          <p:pic>
            <p:nvPicPr>
              <p:cNvPr id="147" name="Picture 146">
                <a:extLst>
                  <a:ext uri="{FF2B5EF4-FFF2-40B4-BE49-F238E27FC236}">
                    <a16:creationId xmlns:a16="http://schemas.microsoft.com/office/drawing/2014/main" id="{06858368-B053-6843-9D5C-3B4B3F34915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498723" y="7676910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E31E6EE2-4F47-504B-B3F7-9B15B3C8AF25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303787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 1 </a:t>
                </a: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349068D4-361C-5C46-A532-3801C2F1365D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799341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 2 </a:t>
                </a: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F2DCEAA6-A668-EA47-BC03-B82CE31AF08C}"/>
                  </a:ext>
                </a:extLst>
              </p:cNvPr>
              <p:cNvSpPr txBox="1"/>
              <p:nvPr userDrawn="1"/>
            </p:nvSpPr>
            <p:spPr>
              <a:xfrm>
                <a:off x="9686426" y="4278760"/>
                <a:ext cx="2453290" cy="65146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1050" dirty="0"/>
                  <a:t> Select and download images from the Marketing Resource Database. </a:t>
                </a:r>
              </a:p>
              <a:p>
                <a:pPr lvl="0"/>
                <a:r>
                  <a:rPr lang="en-US" sz="1050" dirty="0"/>
                  <a:t> Add the image to the placeholder. </a:t>
                </a:r>
              </a:p>
            </p:txBody>
          </p:sp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488662D1-77FE-D34D-BFA8-B58A59DB47EA}"/>
                  </a:ext>
                </a:extLst>
              </p:cNvPr>
              <p:cNvSpPr txBox="1"/>
              <p:nvPr userDrawn="1"/>
            </p:nvSpPr>
            <p:spPr>
              <a:xfrm>
                <a:off x="9674267" y="5297872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 Note: If there are multiple image placeholders on the slide, select the intended placeholder before dragging in the image to let PowerPoint know where you want it. </a:t>
                </a:r>
              </a:p>
            </p:txBody>
          </p:sp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10E9AA29-096E-D54C-95D4-EFDFFD7CC612}"/>
                  </a:ext>
                </a:extLst>
              </p:cNvPr>
              <p:cNvSpPr txBox="1"/>
              <p:nvPr userDrawn="1"/>
            </p:nvSpPr>
            <p:spPr>
              <a:xfrm>
                <a:off x="9686426" y="5713129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 Method 2: </a:t>
                </a:r>
                <a:r>
                  <a:rPr lang="en-US" sz="600" b="0" dirty="0"/>
                  <a:t> Paste from clipboard </a:t>
                </a:r>
              </a:p>
              <a:p>
                <a:pPr lvl="1">
                  <a:buNone/>
                </a:pPr>
                <a:r>
                  <a:rPr lang="en-US" sz="1050" dirty="0"/>
                  <a:t> Select the image placeholder. </a:t>
                </a:r>
              </a:p>
              <a:p>
                <a:pPr lvl="1">
                  <a:buNone/>
                </a:pPr>
                <a:r>
                  <a:rPr lang="en-US" sz="1050" dirty="0"/>
                  <a:t> Right-click or use keyboard shortcuts to paste the image. </a:t>
                </a:r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0B4A71BF-5B38-0644-8E4F-605A80E979B2}"/>
                  </a:ext>
                </a:extLst>
              </p:cNvPr>
              <p:cNvSpPr txBox="1"/>
              <p:nvPr userDrawn="1"/>
            </p:nvSpPr>
            <p:spPr>
              <a:xfrm>
                <a:off x="9686426" y="6433219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 Method 3: </a:t>
                </a:r>
                <a:r>
                  <a:rPr lang="en-US" sz="600" b="0" dirty="0"/>
                  <a:t> Placeholder icon </a:t>
                </a:r>
              </a:p>
              <a:p>
                <a:pPr lvl="1">
                  <a:buNone/>
                </a:pPr>
                <a:r>
                  <a:rPr lang="en-US" sz="1050" dirty="0"/>
                  <a:t> Click the image icon inside the placeholder to browse for an image. </a:t>
                </a:r>
              </a:p>
            </p:txBody>
          </p: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2A674F33-12AC-0340-BFB9-C1CA46F83893}"/>
                  </a:ext>
                </a:extLst>
              </p:cNvPr>
              <p:cNvSpPr txBox="1"/>
              <p:nvPr userDrawn="1"/>
            </p:nvSpPr>
            <p:spPr>
              <a:xfrm>
                <a:off x="9674267" y="6863782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 Note: This icon may be covered by another element. </a:t>
                </a:r>
                <a:br>
                  <a:rPr lang="en-US" sz="700" dirty="0"/>
                </a:br>
                <a:r>
                  <a:rPr lang="en-US" sz="700" dirty="0"/>
                  <a:t> In this case use one of the other methods. </a:t>
                </a:r>
              </a:p>
            </p:txBody>
          </p:sp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18F2069-729F-9B4A-8445-081E2247CBB1}"/>
                  </a:ext>
                </a:extLst>
              </p:cNvPr>
              <p:cNvSpPr/>
              <p:nvPr userDrawn="1"/>
            </p:nvSpPr>
            <p:spPr>
              <a:xfrm>
                <a:off x="9541497" y="2531409"/>
                <a:ext cx="2735151" cy="13262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905C9F4A-8864-BA4C-B90C-28BC8E5E724C}"/>
                  </a:ext>
                </a:extLst>
              </p:cNvPr>
              <p:cNvSpPr txBox="1"/>
              <p:nvPr userDrawn="1"/>
            </p:nvSpPr>
            <p:spPr>
              <a:xfrm>
                <a:off x="9907688" y="2660209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TIP: Adjust overlay text box size </a:t>
                </a:r>
              </a:p>
            </p:txBody>
          </p:sp>
          <p:pic>
            <p:nvPicPr>
              <p:cNvPr id="131" name="Graphic 130">
                <a:extLst>
                  <a:ext uri="{FF2B5EF4-FFF2-40B4-BE49-F238E27FC236}">
                    <a16:creationId xmlns:a16="http://schemas.microsoft.com/office/drawing/2014/main" id="{F23C5373-D4CD-5047-843F-B92DB290985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2670492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C0F58EBC-DF0A-A441-813C-62553D74D316}"/>
                  </a:ext>
                </a:extLst>
              </p:cNvPr>
              <p:cNvSpPr txBox="1"/>
              <p:nvPr userDrawn="1"/>
            </p:nvSpPr>
            <p:spPr>
              <a:xfrm>
                <a:off x="9701720" y="2924393"/>
                <a:ext cx="2214055" cy="53707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If extra space is required for content, use the size handle on this shape to extend the right edge of the shape to the “2/3rds” slide ruler mark. 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Turn on guides (View &gt; Guides) to enable snapping. </a:t>
                </a:r>
              </a:p>
            </p:txBody>
          </p:sp>
        </p:grpSp>
      </p:grpSp>
      <p:sp>
        <p:nvSpPr>
          <p:cNvPr id="500" name="Caption">
            <a:extLst>
              <a:ext uri="{FF2B5EF4-FFF2-40B4-BE49-F238E27FC236}">
                <a16:creationId xmlns:a16="http://schemas.microsoft.com/office/drawing/2014/main" id="{C8FA2963-29D5-4B4C-9DB5-0731074098A4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7947046" y="5912275"/>
            <a:ext cx="3657167" cy="440850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</p:spTree>
    <p:extLst>
      <p:ext uri="{BB962C8B-B14F-4D97-AF65-F5344CB8AC3E}">
        <p14:creationId xmlns:p14="http://schemas.microsoft.com/office/powerpoint/2010/main" val="2199255294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8A1E5E-5092-C14B-BCA7-1CE9980DA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36AF8DC8-87FB-C141-8D83-20DF12993AF5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575733" y="6200775"/>
            <a:ext cx="9920817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932E4D-3BB6-F145-B5C5-AD97EAF75D44}"/>
              </a:ext>
            </a:extLst>
          </p:cNvPr>
          <p:cNvSpPr>
            <a:spLocks noGrp="1"/>
          </p:cNvSpPr>
          <p:nvPr>
            <p:ph type="dt" sz="half" idx="100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7286FE-76E3-3247-ACB0-061B0414E37F}"/>
              </a:ext>
            </a:extLst>
          </p:cNvPr>
          <p:cNvSpPr>
            <a:spLocks noGrp="1"/>
          </p:cNvSpPr>
          <p:nvPr>
            <p:ph type="ftr" sz="quarter" idx="100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7E789D-6D1E-A34E-82C5-72E722D0C6B6}"/>
              </a:ext>
            </a:extLst>
          </p:cNvPr>
          <p:cNvSpPr>
            <a:spLocks noGrp="1"/>
          </p:cNvSpPr>
          <p:nvPr>
            <p:ph type="sldNum" sz="quarter" idx="1003"/>
          </p:nvPr>
        </p:nvSpPr>
        <p:spPr/>
        <p:txBody>
          <a:bodyPr/>
          <a:lstStyle/>
          <a:p>
            <a:pPr marL="12700"/>
            <a:fld id="{078C017C-E1B9-8443-B047-B08AAA027B45}" type="slidenum">
              <a:rPr lang="en-US" smtClean="0"/>
              <a:pPr marL="1270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3248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(1/3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7070C02-8D3D-AA4B-B6D3-432E3D380E3C}"/>
              </a:ext>
            </a:extLst>
          </p:cNvPr>
          <p:cNvSpPr>
            <a:spLocks noGrp="1"/>
          </p:cNvSpPr>
          <p:nvPr>
            <p:ph sz="quarter" idx="104" hasCustomPrompt="1"/>
          </p:nvPr>
        </p:nvSpPr>
        <p:spPr>
          <a:xfrm>
            <a:off x="575709" y="1233489"/>
            <a:ext cx="3499195" cy="4932362"/>
          </a:xfrm>
        </p:spPr>
        <p:txBody>
          <a:bodyPr/>
          <a:lstStyle/>
          <a:p>
            <a:pPr lvl="0"/>
            <a:r>
              <a:rPr lang="en-US" dirty="0"/>
              <a:t>Click to add text, or use the icon to add a table</a:t>
            </a:r>
          </a:p>
          <a:p>
            <a:pPr lvl="1"/>
            <a:r>
              <a:rPr lang="en-US" dirty="0"/>
              <a:t>Body text (second level)</a:t>
            </a:r>
          </a:p>
          <a:p>
            <a:pPr lvl="2"/>
            <a:r>
              <a:rPr lang="en-US" dirty="0"/>
              <a:t>Square bullet (third level)</a:t>
            </a:r>
          </a:p>
          <a:p>
            <a:pPr lvl="3"/>
            <a:r>
              <a:rPr lang="en-US" dirty="0"/>
              <a:t>Dashed bullet (fourth level)</a:t>
            </a:r>
          </a:p>
          <a:p>
            <a:pPr lvl="4"/>
            <a:r>
              <a:rPr lang="en-US" dirty="0"/>
              <a:t>Dashed bullet (fifth level)</a:t>
            </a:r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D893719C-09E6-8446-95C5-B4FC163CB027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4425630" y="1233489"/>
            <a:ext cx="7190637" cy="4932362"/>
          </a:xfrm>
        </p:spPr>
        <p:txBody>
          <a:bodyPr/>
          <a:lstStyle/>
          <a:p>
            <a:pPr lvl="0"/>
            <a:r>
              <a:rPr lang="en-US" dirty="0"/>
              <a:t>Click to add text, or use the icon to add a table</a:t>
            </a:r>
          </a:p>
          <a:p>
            <a:pPr lvl="1"/>
            <a:r>
              <a:rPr lang="en-US" dirty="0"/>
              <a:t>Body text (second level)</a:t>
            </a:r>
          </a:p>
          <a:p>
            <a:pPr lvl="2"/>
            <a:r>
              <a:rPr lang="en-US" dirty="0"/>
              <a:t>Square bullet (third level)</a:t>
            </a:r>
          </a:p>
          <a:p>
            <a:pPr lvl="3"/>
            <a:r>
              <a:rPr lang="en-US" dirty="0"/>
              <a:t>Dashed bullet (fourth level)</a:t>
            </a:r>
          </a:p>
          <a:p>
            <a:pPr lvl="4"/>
            <a:r>
              <a:rPr lang="en-US" dirty="0"/>
              <a:t>Dashed bullet (fifth level)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62E1D57E-789F-C049-AE21-2FFE596AF372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575733" y="6200775"/>
            <a:ext cx="9920817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52187D9-7A64-FD43-ADB5-4358998A306C}"/>
              </a:ext>
            </a:extLst>
          </p:cNvPr>
          <p:cNvSpPr>
            <a:spLocks noGrp="1"/>
          </p:cNvSpPr>
          <p:nvPr>
            <p:ph type="dt" sz="half" idx="10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8C3426B-A824-D843-A346-B1AED40F1EE6}"/>
              </a:ext>
            </a:extLst>
          </p:cNvPr>
          <p:cNvSpPr>
            <a:spLocks noGrp="1"/>
          </p:cNvSpPr>
          <p:nvPr>
            <p:ph type="ftr" sz="quarter" idx="10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9EF4742-1840-4A4C-9C79-0ABDE7122DD2}"/>
              </a:ext>
            </a:extLst>
          </p:cNvPr>
          <p:cNvSpPr>
            <a:spLocks noGrp="1"/>
          </p:cNvSpPr>
          <p:nvPr>
            <p:ph type="sldNum" sz="quarter" idx="108"/>
          </p:nvPr>
        </p:nvSpPr>
        <p:spPr/>
        <p:txBody>
          <a:bodyPr/>
          <a:lstStyle/>
          <a:p>
            <a:pPr marL="12700"/>
            <a:fld id="{078C017C-E1B9-8443-B047-B08AAA027B45}" type="slidenum">
              <a:rPr lang="en-US" smtClean="0"/>
              <a:pPr marL="12700"/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02E2498-FF17-AD4D-A16F-D0555843F7FF}"/>
              </a:ext>
            </a:extLst>
          </p:cNvPr>
          <p:cNvGrpSpPr/>
          <p:nvPr userDrawn="1"/>
        </p:nvGrpSpPr>
        <p:grpSpPr>
          <a:xfrm>
            <a:off x="12532243" y="1"/>
            <a:ext cx="3965960" cy="6857995"/>
            <a:chOff x="9399182" y="0"/>
            <a:chExt cx="2974470" cy="685799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5F50887-8E70-CC4F-AFF3-470F73E7BC52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68579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400" dirty="0"/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FC0C9224-1E37-2F47-BE66-AAF75896A7C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FD959D5-EFA2-5E49-83C2-CEDE37065FA6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D2F6A44-5F00-9545-A4B1-A0061FAE7EC9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C1984AA3-39E3-1C43-94A9-34B5E13FF32E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5235A41A-9B24-9F4B-BF59-14675BCD059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A3477A72-0C5E-0043-8585-DDE93406C932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E62F6452-A2BE-7C46-A9CC-5C38489C5CE5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1677143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1100" dirty="0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18AD7F99-B11F-D249-9E19-51930334CF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9BE17943-B901-2F45-83EC-CAE55A3C5AB3}"/>
                </a:ext>
              </a:extLst>
            </p:cNvPr>
            <p:cNvGrpSpPr/>
            <p:nvPr userDrawn="1"/>
          </p:nvGrpSpPr>
          <p:grpSpPr>
            <a:xfrm>
              <a:off x="9554253" y="3678850"/>
              <a:ext cx="2735151" cy="2655095"/>
              <a:chOff x="9541497" y="2555080"/>
              <a:chExt cx="2735151" cy="2655095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3A282DBC-97A0-A74F-A322-83F38647E311}"/>
                  </a:ext>
                </a:extLst>
              </p:cNvPr>
              <p:cNvGrpSpPr/>
              <p:nvPr userDrawn="1"/>
            </p:nvGrpSpPr>
            <p:grpSpPr>
              <a:xfrm>
                <a:off x="9541497" y="2555080"/>
                <a:ext cx="2735151" cy="2655095"/>
                <a:chOff x="9296567" y="4910411"/>
                <a:chExt cx="2735151" cy="2655095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C6F30183-1D7E-1F46-8A9A-D436E42146F3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265509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6F8134E9-C165-374B-B2CC-DA494A389F22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Automatic paragraph spacing</a:t>
                  </a:r>
                </a:p>
              </p:txBody>
            </p:sp>
            <p:pic>
              <p:nvPicPr>
                <p:cNvPr id="88" name="Graphic 87">
                  <a:extLst>
                    <a:ext uri="{FF2B5EF4-FFF2-40B4-BE49-F238E27FC236}">
                      <a16:creationId xmlns:a16="http://schemas.microsoft.com/office/drawing/2014/main" id="{C0716B58-8AB2-BB4E-BF02-075C7AB5645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55F8E9FF-CF75-2441-B304-D1744649013E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5300350"/>
                  <a:ext cx="2271204" cy="5539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sz="900" dirty="0"/>
                    <a:t>This template automatically adds paragraph spacing between first-level text paragraphs. When pasting in content, remember to delete any extra blank lines from your text.</a:t>
                  </a:r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2514B6E7-6F9E-A74E-B185-C746F5D312F2}"/>
                  </a:ext>
                </a:extLst>
              </p:cNvPr>
              <p:cNvGrpSpPr/>
              <p:nvPr userDrawn="1"/>
            </p:nvGrpSpPr>
            <p:grpSpPr>
              <a:xfrm>
                <a:off x="9832250" y="3569700"/>
                <a:ext cx="2074000" cy="1627918"/>
                <a:chOff x="9832250" y="3617325"/>
                <a:chExt cx="2074000" cy="1627918"/>
              </a:xfrm>
            </p:grpSpPr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2D8F5DB2-9D62-B645-815C-A05F1A64837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075660" y="3617325"/>
                  <a:ext cx="1830590" cy="1627918"/>
                </a:xfrm>
                <a:prstGeom prst="rect">
                  <a:avLst/>
                </a:prstGeom>
              </p:spPr>
            </p:pic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A56B34A5-5FAB-1849-B932-0B65D3EFFC4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3825943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CDAE0E52-76E3-E948-A240-86DD232545E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4714218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992960CE-C925-D541-B244-F39F12711B9D}"/>
                    </a:ext>
                  </a:extLst>
                </p:cNvPr>
                <p:cNvSpPr txBox="1"/>
                <p:nvPr userDrawn="1"/>
              </p:nvSpPr>
              <p:spPr>
                <a:xfrm>
                  <a:off x="9832250" y="3828243"/>
                  <a:ext cx="257282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7C97C986-8A69-3440-8F48-A9A0634AD1BF}"/>
                    </a:ext>
                  </a:extLst>
                </p:cNvPr>
                <p:cNvSpPr txBox="1"/>
                <p:nvPr userDrawn="1"/>
              </p:nvSpPr>
              <p:spPr>
                <a:xfrm>
                  <a:off x="9832250" y="4721742"/>
                  <a:ext cx="257282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</p:grp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847F9F1F-5251-9246-AD4B-01B5FA9CC1BA}"/>
                </a:ext>
              </a:extLst>
            </p:cNvPr>
            <p:cNvGrpSpPr/>
            <p:nvPr userDrawn="1"/>
          </p:nvGrpSpPr>
          <p:grpSpPr>
            <a:xfrm>
              <a:off x="9558506" y="2409506"/>
              <a:ext cx="2639327" cy="684608"/>
              <a:chOff x="9558506" y="2476806"/>
              <a:chExt cx="2639327" cy="684608"/>
            </a:xfrm>
          </p:grpSpPr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56B31BB5-7D6D-F54A-9773-EF4DBD16FF8F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441172" y="2476806"/>
                <a:ext cx="1756661" cy="684608"/>
              </a:xfrm>
              <a:prstGeom prst="rect">
                <a:avLst/>
              </a:prstGeom>
            </p:spPr>
          </p:pic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FE597D3D-3AFC-BB47-B8CF-8E6C98E82881}"/>
                  </a:ext>
                </a:extLst>
              </p:cNvPr>
              <p:cNvSpPr/>
              <p:nvPr userDrawn="1"/>
            </p:nvSpPr>
            <p:spPr>
              <a:xfrm>
                <a:off x="9558506" y="2476806"/>
                <a:ext cx="882666" cy="684608"/>
              </a:xfrm>
              <a:prstGeom prst="rect">
                <a:avLst/>
              </a:prstGeom>
              <a:solidFill>
                <a:schemeClr val="bg2">
                  <a:alpha val="1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403DA12D-0274-1F49-B336-BD4025C49C63}"/>
                  </a:ext>
                </a:extLst>
              </p:cNvPr>
              <p:cNvSpPr txBox="1"/>
              <p:nvPr userDrawn="1"/>
            </p:nvSpPr>
            <p:spPr>
              <a:xfrm>
                <a:off x="9635558" y="2549805"/>
                <a:ext cx="676269" cy="43088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Note: </a:t>
                </a:r>
                <a:b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</a:br>
                <a: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For numbered lists, see the most up-to-date Asset File.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65FA5060-5E13-4543-9377-154ADBB0E82F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4671AB2B-235C-C341-8881-9BBB69C9598E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4F1C356B-DB7D-4D4F-911D-77E8C771B88B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224311F3-D9B7-5B40-8F89-C14B83BC502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400" dirty="0"/>
                  </a:p>
                </p:txBody>
              </p:sp>
              <p:sp>
                <p:nvSpPr>
                  <p:cNvPr id="48" name="TextBox 47">
                    <a:extLst>
                      <a:ext uri="{FF2B5EF4-FFF2-40B4-BE49-F238E27FC236}">
                        <a16:creationId xmlns:a16="http://schemas.microsoft.com/office/drawing/2014/main" id="{C3DAD1A5-A5DD-A047-83FC-B9B82F152CD4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49" name="TextBox 48">
                    <a:extLst>
                      <a:ext uri="{FF2B5EF4-FFF2-40B4-BE49-F238E27FC236}">
                        <a16:creationId xmlns:a16="http://schemas.microsoft.com/office/drawing/2014/main" id="{7A43B794-8CF2-3241-85CE-3E267DC2FAF6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55399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46" name="Graphic 45">
                  <a:extLst>
                    <a:ext uri="{FF2B5EF4-FFF2-40B4-BE49-F238E27FC236}">
                      <a16:creationId xmlns:a16="http://schemas.microsoft.com/office/drawing/2014/main" id="{ADA4F7D3-514B-1146-9B32-81A73DC690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D7DD7A1E-5F73-B04D-BD86-83D0E922658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11486348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DBF7CE65-A49E-3C40-A08E-4922AF1EE5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12192001" cy="6858001"/>
          </a:xfrm>
          <a:custGeom>
            <a:avLst/>
            <a:gdLst>
              <a:gd name="connsiteX0" fmla="*/ 8545320 w 9144001"/>
              <a:gd name="connsiteY0" fmla="*/ 6577275 h 6858001"/>
              <a:gd name="connsiteX1" fmla="*/ 8554630 w 9144001"/>
              <a:gd name="connsiteY1" fmla="*/ 6577275 h 6858001"/>
              <a:gd name="connsiteX2" fmla="*/ 8572756 w 9144001"/>
              <a:gd name="connsiteY2" fmla="*/ 6592564 h 6858001"/>
              <a:gd name="connsiteX3" fmla="*/ 8552840 w 9144001"/>
              <a:gd name="connsiteY3" fmla="*/ 6608587 h 6858001"/>
              <a:gd name="connsiteX4" fmla="*/ 8552840 w 9144001"/>
              <a:gd name="connsiteY4" fmla="*/ 6608474 h 6858001"/>
              <a:gd name="connsiteX5" fmla="*/ 8545320 w 9144001"/>
              <a:gd name="connsiteY5" fmla="*/ 6608474 h 6858001"/>
              <a:gd name="connsiteX6" fmla="*/ 8440531 w 9144001"/>
              <a:gd name="connsiteY6" fmla="*/ 6576165 h 6858001"/>
              <a:gd name="connsiteX7" fmla="*/ 8450869 w 9144001"/>
              <a:gd name="connsiteY7" fmla="*/ 6576165 h 6858001"/>
              <a:gd name="connsiteX8" fmla="*/ 8486566 w 9144001"/>
              <a:gd name="connsiteY8" fmla="*/ 6607214 h 6858001"/>
              <a:gd name="connsiteX9" fmla="*/ 8452487 w 9144001"/>
              <a:gd name="connsiteY9" fmla="*/ 6640295 h 6858001"/>
              <a:gd name="connsiteX10" fmla="*/ 8440531 w 9144001"/>
              <a:gd name="connsiteY10" fmla="*/ 6640295 h 6858001"/>
              <a:gd name="connsiteX11" fmla="*/ 8359312 w 9144001"/>
              <a:gd name="connsiteY11" fmla="*/ 6554745 h 6858001"/>
              <a:gd name="connsiteX12" fmla="*/ 8357846 w 9144001"/>
              <a:gd name="connsiteY12" fmla="*/ 6557848 h 6858001"/>
              <a:gd name="connsiteX13" fmla="*/ 8338065 w 9144001"/>
              <a:gd name="connsiteY13" fmla="*/ 6599654 h 6858001"/>
              <a:gd name="connsiteX14" fmla="*/ 8338065 w 9144001"/>
              <a:gd name="connsiteY14" fmla="*/ 6661565 h 6858001"/>
              <a:gd name="connsiteX15" fmla="*/ 8406528 w 9144001"/>
              <a:gd name="connsiteY15" fmla="*/ 6661565 h 6858001"/>
              <a:gd name="connsiteX16" fmla="*/ 8406528 w 9144001"/>
              <a:gd name="connsiteY16" fmla="*/ 6638978 h 6858001"/>
              <a:gd name="connsiteX17" fmla="*/ 8363158 w 9144001"/>
              <a:gd name="connsiteY17" fmla="*/ 6638978 h 6858001"/>
              <a:gd name="connsiteX18" fmla="*/ 8363158 w 9144001"/>
              <a:gd name="connsiteY18" fmla="*/ 6618141 h 6858001"/>
              <a:gd name="connsiteX19" fmla="*/ 8402682 w 9144001"/>
              <a:gd name="connsiteY19" fmla="*/ 6618141 h 6858001"/>
              <a:gd name="connsiteX20" fmla="*/ 8402682 w 9144001"/>
              <a:gd name="connsiteY20" fmla="*/ 6596570 h 6858001"/>
              <a:gd name="connsiteX21" fmla="*/ 8363158 w 9144001"/>
              <a:gd name="connsiteY21" fmla="*/ 6596570 h 6858001"/>
              <a:gd name="connsiteX22" fmla="*/ 8363158 w 9144001"/>
              <a:gd name="connsiteY22" fmla="*/ 6577482 h 6858001"/>
              <a:gd name="connsiteX23" fmla="*/ 8406528 w 9144001"/>
              <a:gd name="connsiteY23" fmla="*/ 6577482 h 6858001"/>
              <a:gd name="connsiteX24" fmla="*/ 8406528 w 9144001"/>
              <a:gd name="connsiteY24" fmla="*/ 6554745 h 6858001"/>
              <a:gd name="connsiteX25" fmla="*/ 8245575 w 9144001"/>
              <a:gd name="connsiteY25" fmla="*/ 6554726 h 6858001"/>
              <a:gd name="connsiteX26" fmla="*/ 8262082 w 9144001"/>
              <a:gd name="connsiteY26" fmla="*/ 6589123 h 6858001"/>
              <a:gd name="connsiteX27" fmla="*/ 8288526 w 9144001"/>
              <a:gd name="connsiteY27" fmla="*/ 6589123 h 6858001"/>
              <a:gd name="connsiteX28" fmla="*/ 8273962 w 9144001"/>
              <a:gd name="connsiteY28" fmla="*/ 6554726 h 6858001"/>
              <a:gd name="connsiteX29" fmla="*/ 8520246 w 9144001"/>
              <a:gd name="connsiteY29" fmla="*/ 6554707 h 6858001"/>
              <a:gd name="connsiteX30" fmla="*/ 8520246 w 9144001"/>
              <a:gd name="connsiteY30" fmla="*/ 6661564 h 6858001"/>
              <a:gd name="connsiteX31" fmla="*/ 8545320 w 9144001"/>
              <a:gd name="connsiteY31" fmla="*/ 6661564 h 6858001"/>
              <a:gd name="connsiteX32" fmla="*/ 8545320 w 9144001"/>
              <a:gd name="connsiteY32" fmla="*/ 6629932 h 6858001"/>
              <a:gd name="connsiteX33" fmla="*/ 8554630 w 9144001"/>
              <a:gd name="connsiteY33" fmla="*/ 6629932 h 6858001"/>
              <a:gd name="connsiteX34" fmla="*/ 8598420 w 9144001"/>
              <a:gd name="connsiteY34" fmla="*/ 6592019 h 6858001"/>
              <a:gd name="connsiteX35" fmla="*/ 8550346 w 9144001"/>
              <a:gd name="connsiteY35" fmla="*/ 6554707 h 6858001"/>
              <a:gd name="connsiteX36" fmla="*/ 8415495 w 9144001"/>
              <a:gd name="connsiteY36" fmla="*/ 6554707 h 6858001"/>
              <a:gd name="connsiteX37" fmla="*/ 8415495 w 9144001"/>
              <a:gd name="connsiteY37" fmla="*/ 6661470 h 6858001"/>
              <a:gd name="connsiteX38" fmla="*/ 8448546 w 9144001"/>
              <a:gd name="connsiteY38" fmla="*/ 6661583 h 6858001"/>
              <a:gd name="connsiteX39" fmla="*/ 8513278 w 9144001"/>
              <a:gd name="connsiteY39" fmla="*/ 6607214 h 6858001"/>
              <a:gd name="connsiteX40" fmla="*/ 8447461 w 9144001"/>
              <a:gd name="connsiteY40" fmla="*/ 6554745 h 6858001"/>
              <a:gd name="connsiteX41" fmla="*/ 8447499 w 9144001"/>
              <a:gd name="connsiteY41" fmla="*/ 6554707 h 6858001"/>
              <a:gd name="connsiteX42" fmla="*/ 8415495 w 9144001"/>
              <a:gd name="connsiteY42" fmla="*/ 6554707 h 6858001"/>
              <a:gd name="connsiteX43" fmla="*/ 8323900 w 9144001"/>
              <a:gd name="connsiteY43" fmla="*/ 6554707 h 6858001"/>
              <a:gd name="connsiteX44" fmla="*/ 8298693 w 9144001"/>
              <a:gd name="connsiteY44" fmla="*/ 6612649 h 6858001"/>
              <a:gd name="connsiteX45" fmla="*/ 8291858 w 9144001"/>
              <a:gd name="connsiteY45" fmla="*/ 6596645 h 6858001"/>
              <a:gd name="connsiteX46" fmla="*/ 8265623 w 9144001"/>
              <a:gd name="connsiteY46" fmla="*/ 6596645 h 6858001"/>
              <a:gd name="connsiteX47" fmla="*/ 8296942 w 9144001"/>
              <a:gd name="connsiteY47" fmla="*/ 6661978 h 6858001"/>
              <a:gd name="connsiteX48" fmla="*/ 8299855 w 9144001"/>
              <a:gd name="connsiteY48" fmla="*/ 6661978 h 6858001"/>
              <a:gd name="connsiteX49" fmla="*/ 8350593 w 9144001"/>
              <a:gd name="connsiteY49" fmla="*/ 6554707 h 6858001"/>
              <a:gd name="connsiteX50" fmla="*/ 8704282 w 9144001"/>
              <a:gd name="connsiteY50" fmla="*/ 6516148 h 6858001"/>
              <a:gd name="connsiteX51" fmla="*/ 8704282 w 9144001"/>
              <a:gd name="connsiteY51" fmla="*/ 6690773 h 6858001"/>
              <a:gd name="connsiteX52" fmla="*/ 8723671 w 9144001"/>
              <a:gd name="connsiteY52" fmla="*/ 6690773 h 6858001"/>
              <a:gd name="connsiteX53" fmla="*/ 8723671 w 9144001"/>
              <a:gd name="connsiteY53" fmla="*/ 6516148 h 6858001"/>
              <a:gd name="connsiteX54" fmla="*/ 0 w 9144001"/>
              <a:gd name="connsiteY54" fmla="*/ 0 h 6858001"/>
              <a:gd name="connsiteX55" fmla="*/ 9144001 w 9144001"/>
              <a:gd name="connsiteY55" fmla="*/ 0 h 6858001"/>
              <a:gd name="connsiteX56" fmla="*/ 9144001 w 9144001"/>
              <a:gd name="connsiteY56" fmla="*/ 6858001 h 6858001"/>
              <a:gd name="connsiteX57" fmla="*/ 0 w 9144001"/>
              <a:gd name="connsiteY57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1" h="6858001">
                <a:moveTo>
                  <a:pt x="8545320" y="6577275"/>
                </a:moveTo>
                <a:lnTo>
                  <a:pt x="8554630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0" y="6608587"/>
                </a:cubicBezTo>
                <a:lnTo>
                  <a:pt x="8552840" y="6608474"/>
                </a:lnTo>
                <a:lnTo>
                  <a:pt x="8545320" y="6608474"/>
                </a:lnTo>
                <a:close/>
                <a:moveTo>
                  <a:pt x="8440531" y="6576165"/>
                </a:moveTo>
                <a:lnTo>
                  <a:pt x="8450869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1" y="6640295"/>
                </a:lnTo>
                <a:close/>
                <a:moveTo>
                  <a:pt x="8359312" y="6554745"/>
                </a:moveTo>
                <a:lnTo>
                  <a:pt x="8357846" y="6557848"/>
                </a:lnTo>
                <a:lnTo>
                  <a:pt x="8338065" y="6599654"/>
                </a:lnTo>
                <a:lnTo>
                  <a:pt x="8338065" y="6661565"/>
                </a:lnTo>
                <a:lnTo>
                  <a:pt x="8406528" y="6661565"/>
                </a:lnTo>
                <a:lnTo>
                  <a:pt x="8406528" y="6638978"/>
                </a:lnTo>
                <a:lnTo>
                  <a:pt x="8363158" y="6638978"/>
                </a:lnTo>
                <a:lnTo>
                  <a:pt x="8363158" y="6618141"/>
                </a:lnTo>
                <a:lnTo>
                  <a:pt x="8402682" y="6618141"/>
                </a:lnTo>
                <a:lnTo>
                  <a:pt x="8402682" y="6596570"/>
                </a:lnTo>
                <a:lnTo>
                  <a:pt x="8363158" y="6596570"/>
                </a:lnTo>
                <a:lnTo>
                  <a:pt x="8363158" y="6577482"/>
                </a:lnTo>
                <a:lnTo>
                  <a:pt x="8406528" y="6577482"/>
                </a:lnTo>
                <a:lnTo>
                  <a:pt x="8406528" y="6554745"/>
                </a:lnTo>
                <a:close/>
                <a:moveTo>
                  <a:pt x="8245575" y="6554726"/>
                </a:moveTo>
                <a:lnTo>
                  <a:pt x="8262082" y="6589123"/>
                </a:lnTo>
                <a:lnTo>
                  <a:pt x="8288526" y="6589123"/>
                </a:lnTo>
                <a:lnTo>
                  <a:pt x="8273962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0" y="6661564"/>
                </a:lnTo>
                <a:lnTo>
                  <a:pt x="8545320" y="6629932"/>
                </a:lnTo>
                <a:lnTo>
                  <a:pt x="8554630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6" y="6554707"/>
                </a:cubicBezTo>
                <a:close/>
                <a:moveTo>
                  <a:pt x="8415495" y="6554707"/>
                </a:moveTo>
                <a:lnTo>
                  <a:pt x="8415495" y="6661470"/>
                </a:lnTo>
                <a:cubicBezTo>
                  <a:pt x="8415495" y="6661470"/>
                  <a:pt x="8435866" y="6661583"/>
                  <a:pt x="8448546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1" y="6554745"/>
                </a:cubicBezTo>
                <a:lnTo>
                  <a:pt x="8447499" y="6554707"/>
                </a:lnTo>
                <a:cubicBezTo>
                  <a:pt x="8436742" y="6554707"/>
                  <a:pt x="8415495" y="6554707"/>
                  <a:pt x="8415495" y="6554707"/>
                </a:cubicBezTo>
                <a:close/>
                <a:moveTo>
                  <a:pt x="8323900" y="6554707"/>
                </a:moveTo>
                <a:lnTo>
                  <a:pt x="8298693" y="6612649"/>
                </a:lnTo>
                <a:lnTo>
                  <a:pt x="8291858" y="6596645"/>
                </a:lnTo>
                <a:lnTo>
                  <a:pt x="8265623" y="6596645"/>
                </a:lnTo>
                <a:lnTo>
                  <a:pt x="8296942" y="6661978"/>
                </a:lnTo>
                <a:lnTo>
                  <a:pt x="8299855" y="6661978"/>
                </a:lnTo>
                <a:lnTo>
                  <a:pt x="8350593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1" y="0"/>
                </a:lnTo>
                <a:lnTo>
                  <a:pt x="9144001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Drag image onto slide to add photo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2C3A686-EFBE-6E4D-8020-4014DF4E8E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7947045" cy="6857999"/>
          </a:xfrm>
          <a:custGeom>
            <a:avLst/>
            <a:gdLst>
              <a:gd name="connsiteX0" fmla="*/ 0 w 5960284"/>
              <a:gd name="connsiteY0" fmla="*/ 0 h 6857999"/>
              <a:gd name="connsiteX1" fmla="*/ 2705820 w 5960284"/>
              <a:gd name="connsiteY1" fmla="*/ 0 h 6857999"/>
              <a:gd name="connsiteX2" fmla="*/ 5960284 w 5960284"/>
              <a:gd name="connsiteY2" fmla="*/ 6857999 h 6857999"/>
              <a:gd name="connsiteX3" fmla="*/ 0 w 5960284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0284" h="6857999">
                <a:moveTo>
                  <a:pt x="0" y="0"/>
                </a:moveTo>
                <a:lnTo>
                  <a:pt x="2705820" y="0"/>
                </a:lnTo>
                <a:lnTo>
                  <a:pt x="5960284" y="6857999"/>
                </a:lnTo>
                <a:lnTo>
                  <a:pt x="0" y="6857999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95000"/>
                </a:schemeClr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wrap="square" lIns="432000" tIns="360000" rIns="1080000" bIns="612000" anchor="b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ection title.</a:t>
            </a:r>
            <a:br>
              <a:rPr lang="en-US" dirty="0"/>
            </a:br>
            <a:r>
              <a:rPr lang="en-US" dirty="0"/>
              <a:t>3 lines max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EF91C03-68D7-6C4C-845D-95A60CCDC888}"/>
              </a:ext>
            </a:extLst>
          </p:cNvPr>
          <p:cNvGrpSpPr/>
          <p:nvPr userDrawn="1"/>
        </p:nvGrpSpPr>
        <p:grpSpPr>
          <a:xfrm>
            <a:off x="-342618" y="4797149"/>
            <a:ext cx="335281" cy="1365066"/>
            <a:chOff x="-256404" y="360363"/>
            <a:chExt cx="251461" cy="6921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D7A67AD-A78D-1040-A099-19C73D75FADD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B4B5A1AF-9A26-A642-816C-7E1E37992AA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ADBBC9F7-B424-1643-B930-EEF94712EBD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E56CBC82-1BDE-F540-BF3F-712FAD884E18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282B5F3-F5C3-DB4C-B743-A8A59CFF7D42}"/>
                </a:ext>
              </a:extLst>
            </p:cNvPr>
            <p:cNvSpPr txBox="1"/>
            <p:nvPr userDrawn="1"/>
          </p:nvSpPr>
          <p:spPr>
            <a:xfrm rot="16200000">
              <a:off x="-192445" y="662666"/>
              <a:ext cx="123545" cy="8079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798FF58-E26B-3647-BDDF-EC266BEA7328}"/>
              </a:ext>
            </a:extLst>
          </p:cNvPr>
          <p:cNvGrpSpPr/>
          <p:nvPr userDrawn="1"/>
        </p:nvGrpSpPr>
        <p:grpSpPr>
          <a:xfrm>
            <a:off x="12532243" y="-1"/>
            <a:ext cx="3832280" cy="6858001"/>
            <a:chOff x="9144000" y="-1"/>
            <a:chExt cx="2874210" cy="6858001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8580BD2-46D4-6B43-BEB1-7D93D1D56918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400" dirty="0"/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9A61082E-FFDB-C440-87DC-6022E4E82893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FD97C5F9-1BA0-4346-8BA5-61CA34B0EB56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23351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1100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FF29B610-1229-CE4A-AF80-53A2FAABF0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179FAF10-6C7D-2144-8C5C-BFA813F68506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08A50BC6-41D4-CB43-B615-0CB5C5D8CB2E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AAF32C62-18B0-5A46-A72E-AB5C72B617B1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3A949284-8769-7C4A-BDA9-47BF5046975F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80" name="Graphic 79">
                  <a:extLst>
                    <a:ext uri="{FF2B5EF4-FFF2-40B4-BE49-F238E27FC236}">
                      <a16:creationId xmlns:a16="http://schemas.microsoft.com/office/drawing/2014/main" id="{8963D7C6-F2C5-E849-BB93-9E88B87AA57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1" name="TextBox 80">
                  <a:extLst>
                    <a:ext uri="{FF2B5EF4-FFF2-40B4-BE49-F238E27FC236}">
                      <a16:creationId xmlns:a16="http://schemas.microsoft.com/office/drawing/2014/main" id="{85DB30AD-2EC9-DB48-BA60-31491FAC1195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82" name="TextBox 81">
                  <a:extLst>
                    <a:ext uri="{FF2B5EF4-FFF2-40B4-BE49-F238E27FC236}">
                      <a16:creationId xmlns:a16="http://schemas.microsoft.com/office/drawing/2014/main" id="{17B40A71-5ED2-4847-B0DF-8C7122BB42A3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83" name="TextBox 82">
                  <a:extLst>
                    <a:ext uri="{FF2B5EF4-FFF2-40B4-BE49-F238E27FC236}">
                      <a16:creationId xmlns:a16="http://schemas.microsoft.com/office/drawing/2014/main" id="{224A2BA9-4F1F-074F-AEA1-D6E43A8250E8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0F4A1271-3D8B-3C49-A3EA-8521CBDB4AF1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C6145E2A-AB77-D243-85C2-139861D4876E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FC6A7522-6011-3549-8AE8-F95DA5F999B9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73" name="Graphic 72">
                  <a:extLst>
                    <a:ext uri="{FF2B5EF4-FFF2-40B4-BE49-F238E27FC236}">
                      <a16:creationId xmlns:a16="http://schemas.microsoft.com/office/drawing/2014/main" id="{0766D4F4-795E-5245-BF49-8D06B73BD8E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4BA13E32-1D69-6744-97E0-5693B3DE481A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75" name="Picture 74">
                  <a:extLst>
                    <a:ext uri="{FF2B5EF4-FFF2-40B4-BE49-F238E27FC236}">
                      <a16:creationId xmlns:a16="http://schemas.microsoft.com/office/drawing/2014/main" id="{62C33A3E-B57A-5249-A736-062C612AFDE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46CE5CB7-4357-AA46-858D-4971B106CB68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42CF36A7-43B8-6C4C-86FD-1CD17D708735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1A6C5B3E-7B6D-A148-861C-6ACAA92D6CA7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35B6B6EB-9B89-1347-8F1C-C198506B65AC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1050" dirty="0"/>
                    <a:t>Select and download images from the Marketing Resource Database.</a:t>
                  </a:r>
                </a:p>
                <a:p>
                  <a:pPr lvl="0"/>
                  <a:r>
                    <a:rPr lang="en-US" sz="1050" dirty="0"/>
                    <a:t>Add the image to the placeholder.</a:t>
                  </a:r>
                </a:p>
              </p:txBody>
            </p:sp>
          </p:grp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86D606E1-D70D-CF4E-8378-6DE1F7A17FDF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1AB01998-6407-F04E-89B6-207E3B4416D9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BF601082-8B9E-E948-93FC-DD6E8E5CABC4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713FBF07-5E2E-9142-A30C-27DB2C07E4EE}"/>
                  </a:ext>
                </a:extLst>
              </p:cNvPr>
              <p:cNvSpPr txBox="1"/>
              <p:nvPr userDrawn="1"/>
            </p:nvSpPr>
            <p:spPr>
              <a:xfrm>
                <a:off x="9419085" y="3095480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</p:grpSp>
      <p:sp>
        <p:nvSpPr>
          <p:cNvPr id="500" name="Caption">
            <a:extLst>
              <a:ext uri="{FF2B5EF4-FFF2-40B4-BE49-F238E27FC236}">
                <a16:creationId xmlns:a16="http://schemas.microsoft.com/office/drawing/2014/main" id="{FBAAECF8-548A-DF48-864C-7FFAC7CE7E0F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7947046" y="5912275"/>
            <a:ext cx="3657167" cy="440850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E27FEE-18EA-A346-B26F-D333D09B92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4E954B-AA54-CB4A-BB91-65FA994324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BB10A8-70DC-DE4D-92FA-36863B35AB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12700"/>
            <a:fld id="{078C017C-E1B9-8443-B047-B08AAA027B45}" type="slidenum">
              <a:rPr lang="en-US" smtClean="0"/>
              <a:pPr marL="12700"/>
              <a:t>‹#›</a:t>
            </a:fld>
            <a:endParaRPr lang="en-US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F6510D4-5C14-4C49-9E12-FE70AD2BF8B5}"/>
              </a:ext>
            </a:extLst>
          </p:cNvPr>
          <p:cNvGrpSpPr/>
          <p:nvPr userDrawn="1"/>
        </p:nvGrpSpPr>
        <p:grpSpPr>
          <a:xfrm>
            <a:off x="574987" y="-246933"/>
            <a:ext cx="11040535" cy="7347304"/>
            <a:chOff x="431240" y="-246933"/>
            <a:chExt cx="8280401" cy="7347304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065C18E-D64F-7245-813C-B6B447EDB421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395E244-87CF-F140-BD60-3FFD9A25D3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B59353F5-2397-5A4B-9D6C-2A5B3826216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6A29AC13-8431-6247-9605-4DE6AC19757E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91174909-64CA-EF47-A0A7-204423290ECC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54" name="Straight Connector 53">
                  <a:extLst>
                    <a:ext uri="{FF2B5EF4-FFF2-40B4-BE49-F238E27FC236}">
                      <a16:creationId xmlns:a16="http://schemas.microsoft.com/office/drawing/2014/main" id="{34D91FED-26CC-F144-8BF9-DB64124B41B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id="{97B6B19F-FF08-ED4B-9CCD-CAFF7BF049B6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1D02FAC6-DC5B-A746-8EF4-D6DB84FFA3D9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</p:grp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20F36343-BBC2-4349-A0F2-4B2E7BBD79F8}"/>
                  </a:ext>
                </a:extLst>
              </p:cNvPr>
              <p:cNvSpPr txBox="1"/>
              <p:nvPr userDrawn="1"/>
            </p:nvSpPr>
            <p:spPr>
              <a:xfrm>
                <a:off x="3914336" y="-176700"/>
                <a:ext cx="1315339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BCE10A83-4DF9-CA4C-8F3D-16220DA1460D}"/>
                  </a:ext>
                </a:extLst>
              </p:cNvPr>
              <p:cNvCxnSpPr>
                <a:cxnSpLocks/>
                <a:stCxn id="51" idx="1"/>
                <a:endCxn id="86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Arrow Connector 52">
                <a:extLst>
                  <a:ext uri="{FF2B5EF4-FFF2-40B4-BE49-F238E27FC236}">
                    <a16:creationId xmlns:a16="http://schemas.microsoft.com/office/drawing/2014/main" id="{0A539B45-3509-C647-A3C5-4AB4B3F91D32}"/>
                  </a:ext>
                </a:extLst>
              </p:cNvPr>
              <p:cNvCxnSpPr>
                <a:cxnSpLocks/>
                <a:stCxn id="51" idx="3"/>
                <a:endCxn id="86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6464259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423DF32C-150B-B744-A7E1-5C3269E4E6A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383867" y="1112839"/>
            <a:ext cx="5808133" cy="5053013"/>
          </a:xfrm>
          <a:prstGeom prst="rect">
            <a:avLst/>
          </a:pr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C2598A-7FBA-894D-9FD9-C59942BC6A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78B27A02-1C02-184E-8B71-04A32B7B0FFF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575733" y="6200775"/>
            <a:ext cx="9920817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E3703CA0-7C6E-BE4A-9549-3CD18BE408F5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7947046" y="5523642"/>
            <a:ext cx="3657167" cy="440850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7B9ACC9-FEEA-594F-95EA-7E74907FD326}"/>
              </a:ext>
            </a:extLst>
          </p:cNvPr>
          <p:cNvSpPr>
            <a:spLocks noGrp="1"/>
          </p:cNvSpPr>
          <p:nvPr>
            <p:ph type="dt" sz="half" idx="10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C1EDE3-F4CF-9F41-BC8A-2E7BCECD6FFF}"/>
              </a:ext>
            </a:extLst>
          </p:cNvPr>
          <p:cNvSpPr>
            <a:spLocks noGrp="1"/>
          </p:cNvSpPr>
          <p:nvPr>
            <p:ph type="ftr" sz="quarter" idx="10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DC54D9D-3175-B84D-96C6-75A1EF65E81A}"/>
              </a:ext>
            </a:extLst>
          </p:cNvPr>
          <p:cNvSpPr>
            <a:spLocks noGrp="1"/>
          </p:cNvSpPr>
          <p:nvPr>
            <p:ph type="sldNum" sz="quarter" idx="103"/>
          </p:nvPr>
        </p:nvSpPr>
        <p:spPr/>
        <p:txBody>
          <a:bodyPr/>
          <a:lstStyle/>
          <a:p>
            <a:pPr marL="12700"/>
            <a:fld id="{078C017C-E1B9-8443-B047-B08AAA027B45}" type="slidenum">
              <a:rPr lang="en-US" smtClean="0"/>
              <a:pPr marL="12700"/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1C1B5872-F27A-8540-9155-0506D8591D38}"/>
              </a:ext>
            </a:extLst>
          </p:cNvPr>
          <p:cNvSpPr>
            <a:spLocks noGrp="1"/>
          </p:cNvSpPr>
          <p:nvPr>
            <p:ph type="body" sz="quarter" idx="200"/>
          </p:nvPr>
        </p:nvSpPr>
        <p:spPr>
          <a:xfrm>
            <a:off x="575733" y="1233488"/>
            <a:ext cx="5520267" cy="49323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733A701-C28D-D14B-8A54-4FABF63CD244}"/>
              </a:ext>
            </a:extLst>
          </p:cNvPr>
          <p:cNvGrpSpPr/>
          <p:nvPr userDrawn="1"/>
        </p:nvGrpSpPr>
        <p:grpSpPr>
          <a:xfrm>
            <a:off x="12532243" y="-2"/>
            <a:ext cx="3965960" cy="9769405"/>
            <a:chOff x="9399182" y="-2"/>
            <a:chExt cx="2974470" cy="9769405"/>
          </a:xfrm>
        </p:grpSpPr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751DA6CE-8EF3-4A45-8D22-D0DF488812BC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65503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400" dirty="0"/>
            </a:p>
          </p:txBody>
        </p:sp>
        <p:pic>
          <p:nvPicPr>
            <p:cNvPr id="126" name="Picture 125">
              <a:extLst>
                <a:ext uri="{FF2B5EF4-FFF2-40B4-BE49-F238E27FC236}">
                  <a16:creationId xmlns:a16="http://schemas.microsoft.com/office/drawing/2014/main" id="{B1044BAF-5A45-8449-B9C7-80FE332259F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A68E120-F0E4-E945-800D-04C9368C1492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63" name="Rectangle 162">
                <a:extLst>
                  <a:ext uri="{FF2B5EF4-FFF2-40B4-BE49-F238E27FC236}">
                    <a16:creationId xmlns:a16="http://schemas.microsoft.com/office/drawing/2014/main" id="{A2492CFD-ACE4-D440-8AB8-5C71505FB95A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D4154661-313C-224F-BD94-A72392721054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65" name="Picture 164">
                <a:extLst>
                  <a:ext uri="{FF2B5EF4-FFF2-40B4-BE49-F238E27FC236}">
                    <a16:creationId xmlns:a16="http://schemas.microsoft.com/office/drawing/2014/main" id="{73A77609-877B-8A42-8CB0-F890A6AF4803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B5788AF6-D5BE-4D46-A7FD-EEA5EC2271BC}"/>
                </a:ext>
              </a:extLst>
            </p:cNvPr>
            <p:cNvGrpSpPr/>
            <p:nvPr userDrawn="1"/>
          </p:nvGrpSpPr>
          <p:grpSpPr>
            <a:xfrm>
              <a:off x="9521833" y="3755578"/>
              <a:ext cx="2754815" cy="6013825"/>
              <a:chOff x="9521833" y="2566288"/>
              <a:chExt cx="2754815" cy="6013825"/>
            </a:xfrm>
          </p:grpSpPr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40357B56-9945-894E-8D94-FE78A1E1BBDA}"/>
                  </a:ext>
                </a:extLst>
              </p:cNvPr>
              <p:cNvSpPr txBox="1"/>
              <p:nvPr userDrawn="1"/>
            </p:nvSpPr>
            <p:spPr>
              <a:xfrm>
                <a:off x="9558507" y="2566288"/>
                <a:ext cx="123351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1100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C48E1D43-565E-C748-AA09-8B2024B0024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76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1" name="TextBox 140">
                <a:extLst>
                  <a:ext uri="{FF2B5EF4-FFF2-40B4-BE49-F238E27FC236}">
                    <a16:creationId xmlns:a16="http://schemas.microsoft.com/office/drawing/2014/main" id="{9609B6B1-808D-2F47-BA9D-5471F55D00F3}"/>
                  </a:ext>
                </a:extLst>
              </p:cNvPr>
              <p:cNvSpPr txBox="1"/>
              <p:nvPr userDrawn="1"/>
            </p:nvSpPr>
            <p:spPr>
              <a:xfrm>
                <a:off x="9686426" y="362721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142" name="Group 141">
                <a:extLst>
                  <a:ext uri="{FF2B5EF4-FFF2-40B4-BE49-F238E27FC236}">
                    <a16:creationId xmlns:a16="http://schemas.microsoft.com/office/drawing/2014/main" id="{B05A4C93-6C32-F549-B7C2-5264AE3CC159}"/>
                  </a:ext>
                </a:extLst>
              </p:cNvPr>
              <p:cNvGrpSpPr/>
              <p:nvPr userDrawn="1"/>
            </p:nvGrpSpPr>
            <p:grpSpPr>
              <a:xfrm>
                <a:off x="9541497" y="716879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157" name="Rectangle 156">
                  <a:extLst>
                    <a:ext uri="{FF2B5EF4-FFF2-40B4-BE49-F238E27FC236}">
                      <a16:creationId xmlns:a16="http://schemas.microsoft.com/office/drawing/2014/main" id="{BDC5CF10-ABF4-3548-B7A9-AFF61FDC6756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158" name="TextBox 157">
                  <a:extLst>
                    <a:ext uri="{FF2B5EF4-FFF2-40B4-BE49-F238E27FC236}">
                      <a16:creationId xmlns:a16="http://schemas.microsoft.com/office/drawing/2014/main" id="{697C1DF9-78D8-F946-8AEA-97C6739BC23B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59" name="Graphic 158">
                  <a:extLst>
                    <a:ext uri="{FF2B5EF4-FFF2-40B4-BE49-F238E27FC236}">
                      <a16:creationId xmlns:a16="http://schemas.microsoft.com/office/drawing/2014/main" id="{5C2FF1FF-B1B7-6545-806F-1BDC3027171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60" name="TextBox 159">
                  <a:extLst>
                    <a:ext uri="{FF2B5EF4-FFF2-40B4-BE49-F238E27FC236}">
                      <a16:creationId xmlns:a16="http://schemas.microsoft.com/office/drawing/2014/main" id="{FA3C0A73-D511-3B49-8AC7-02179A31268C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61" name="TextBox 160">
                  <a:extLst>
                    <a:ext uri="{FF2B5EF4-FFF2-40B4-BE49-F238E27FC236}">
                      <a16:creationId xmlns:a16="http://schemas.microsoft.com/office/drawing/2014/main" id="{8EA9CE81-F075-DE47-82D8-6F158387D043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62" name="TextBox 161">
                  <a:extLst>
                    <a:ext uri="{FF2B5EF4-FFF2-40B4-BE49-F238E27FC236}">
                      <a16:creationId xmlns:a16="http://schemas.microsoft.com/office/drawing/2014/main" id="{78807420-9DBC-9A45-8A89-7CD0F4D92B94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5C351591-2472-904B-8759-942A88D16B9D}"/>
                  </a:ext>
                </a:extLst>
              </p:cNvPr>
              <p:cNvGrpSpPr/>
              <p:nvPr userDrawn="1"/>
            </p:nvGrpSpPr>
            <p:grpSpPr>
              <a:xfrm>
                <a:off x="9541497" y="581214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BE2203C4-AADF-9846-8B18-491BE1A24360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153" name="TextBox 152">
                  <a:extLst>
                    <a:ext uri="{FF2B5EF4-FFF2-40B4-BE49-F238E27FC236}">
                      <a16:creationId xmlns:a16="http://schemas.microsoft.com/office/drawing/2014/main" id="{0030A937-6F39-054A-AED5-ADF5A04739AF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154" name="Graphic 153">
                  <a:extLst>
                    <a:ext uri="{FF2B5EF4-FFF2-40B4-BE49-F238E27FC236}">
                      <a16:creationId xmlns:a16="http://schemas.microsoft.com/office/drawing/2014/main" id="{0537737C-2115-B947-9A78-0777F840E7B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55" name="TextBox 154">
                  <a:extLst>
                    <a:ext uri="{FF2B5EF4-FFF2-40B4-BE49-F238E27FC236}">
                      <a16:creationId xmlns:a16="http://schemas.microsoft.com/office/drawing/2014/main" id="{8BA15225-069B-8742-A8D7-CAC9185D5090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156" name="Picture 155">
                  <a:extLst>
                    <a:ext uri="{FF2B5EF4-FFF2-40B4-BE49-F238E27FC236}">
                      <a16:creationId xmlns:a16="http://schemas.microsoft.com/office/drawing/2014/main" id="{8144153B-0D79-E944-B51D-5835E26BED6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id="{E9E4EBA5-7235-1749-BE4E-7F57283F44A6}"/>
                  </a:ext>
                </a:extLst>
              </p:cNvPr>
              <p:cNvGrpSpPr/>
              <p:nvPr userDrawn="1"/>
            </p:nvGrpSpPr>
            <p:grpSpPr>
              <a:xfrm>
                <a:off x="9521833" y="289140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149" name="TextBox 148">
                  <a:extLst>
                    <a:ext uri="{FF2B5EF4-FFF2-40B4-BE49-F238E27FC236}">
                      <a16:creationId xmlns:a16="http://schemas.microsoft.com/office/drawing/2014/main" id="{F2698A1D-5AA4-DC44-9F55-CBD096FE57F1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50" name="TextBox 149">
                  <a:extLst>
                    <a:ext uri="{FF2B5EF4-FFF2-40B4-BE49-F238E27FC236}">
                      <a16:creationId xmlns:a16="http://schemas.microsoft.com/office/drawing/2014/main" id="{3AE86D23-8305-5A45-A571-52B2F5C0990D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151" name="TextBox 150">
                  <a:extLst>
                    <a:ext uri="{FF2B5EF4-FFF2-40B4-BE49-F238E27FC236}">
                      <a16:creationId xmlns:a16="http://schemas.microsoft.com/office/drawing/2014/main" id="{C22F969C-FAF1-8246-BD84-28276607268B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1050" dirty="0"/>
                    <a:t>Select and download images from the Marketing Resource Database.</a:t>
                  </a:r>
                </a:p>
                <a:p>
                  <a:pPr lvl="0"/>
                  <a:r>
                    <a:rPr lang="en-US" sz="1050" dirty="0"/>
                    <a:t>Add the image to the placeholder.</a:t>
                  </a:r>
                </a:p>
              </p:txBody>
            </p:sp>
          </p:grpSp>
          <p:sp>
            <p:nvSpPr>
              <p:cNvPr id="145" name="TextBox 144">
                <a:extLst>
                  <a:ext uri="{FF2B5EF4-FFF2-40B4-BE49-F238E27FC236}">
                    <a16:creationId xmlns:a16="http://schemas.microsoft.com/office/drawing/2014/main" id="{94AAA41A-0A99-B540-9DFB-E702DDC79CE0}"/>
                  </a:ext>
                </a:extLst>
              </p:cNvPr>
              <p:cNvSpPr txBox="1"/>
              <p:nvPr userDrawn="1"/>
            </p:nvSpPr>
            <p:spPr>
              <a:xfrm>
                <a:off x="9674267" y="391052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4FB277D0-59CC-B04A-AF4B-F5F46BEA5970}"/>
                  </a:ext>
                </a:extLst>
              </p:cNvPr>
              <p:cNvSpPr txBox="1"/>
              <p:nvPr userDrawn="1"/>
            </p:nvSpPr>
            <p:spPr>
              <a:xfrm>
                <a:off x="9686426" y="432577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D2A1627A-335B-1447-896B-7A24744C3AFE}"/>
                  </a:ext>
                </a:extLst>
              </p:cNvPr>
              <p:cNvSpPr txBox="1"/>
              <p:nvPr userDrawn="1"/>
            </p:nvSpPr>
            <p:spPr>
              <a:xfrm>
                <a:off x="9686426" y="504586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D1D1A24B-457A-C34F-BF91-92618BD9AA84}"/>
                  </a:ext>
                </a:extLst>
              </p:cNvPr>
              <p:cNvSpPr txBox="1"/>
              <p:nvPr userDrawn="1"/>
            </p:nvSpPr>
            <p:spPr>
              <a:xfrm>
                <a:off x="9674267" y="5476430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44275E70-9A90-8248-B103-32F4FC330EA0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7143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1100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206D460-1991-A942-841E-D63D391828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F4DDB051-6B6F-BC48-8BB7-4040D84AAB04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132" name="Group 131">
                <a:extLst>
                  <a:ext uri="{FF2B5EF4-FFF2-40B4-BE49-F238E27FC236}">
                    <a16:creationId xmlns:a16="http://schemas.microsoft.com/office/drawing/2014/main" id="{766FADBE-8E34-814E-96B3-2AEADDB68211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134" name="Group 133">
                  <a:extLst>
                    <a:ext uri="{FF2B5EF4-FFF2-40B4-BE49-F238E27FC236}">
                      <a16:creationId xmlns:a16="http://schemas.microsoft.com/office/drawing/2014/main" id="{AD0934A4-4B6D-554D-99CA-06DCE1F3AD20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136" name="Rectangle 135">
                    <a:extLst>
                      <a:ext uri="{FF2B5EF4-FFF2-40B4-BE49-F238E27FC236}">
                        <a16:creationId xmlns:a16="http://schemas.microsoft.com/office/drawing/2014/main" id="{53182B15-F43E-0147-B7E0-9BED83FA6B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400" dirty="0"/>
                  </a:p>
                </p:txBody>
              </p:sp>
              <p:sp>
                <p:nvSpPr>
                  <p:cNvPr id="137" name="TextBox 136">
                    <a:extLst>
                      <a:ext uri="{FF2B5EF4-FFF2-40B4-BE49-F238E27FC236}">
                        <a16:creationId xmlns:a16="http://schemas.microsoft.com/office/drawing/2014/main" id="{A7FE4E2B-60F9-B74B-9322-B2A84ADC3AEC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138" name="TextBox 137">
                    <a:extLst>
                      <a:ext uri="{FF2B5EF4-FFF2-40B4-BE49-F238E27FC236}">
                        <a16:creationId xmlns:a16="http://schemas.microsoft.com/office/drawing/2014/main" id="{45C5FDA9-51EB-994D-A9B6-D74A75ECC8CA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55399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135" name="Graphic 134">
                  <a:extLst>
                    <a:ext uri="{FF2B5EF4-FFF2-40B4-BE49-F238E27FC236}">
                      <a16:creationId xmlns:a16="http://schemas.microsoft.com/office/drawing/2014/main" id="{10990A9D-3395-D041-92DA-7AF631B632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133" name="Picture 132">
                <a:extLst>
                  <a:ext uri="{FF2B5EF4-FFF2-40B4-BE49-F238E27FC236}">
                    <a16:creationId xmlns:a16="http://schemas.microsoft.com/office/drawing/2014/main" id="{A163CE1E-05FE-3244-A292-D0B3E311C30C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42250446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efault Text Over Photo (Ful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TextBox 142">
            <a:extLst>
              <a:ext uri="{FF2B5EF4-FFF2-40B4-BE49-F238E27FC236}">
                <a16:creationId xmlns:a16="http://schemas.microsoft.com/office/drawing/2014/main" id="{46481346-5599-134A-9D85-7AA21E57226F}"/>
              </a:ext>
            </a:extLst>
          </p:cNvPr>
          <p:cNvSpPr txBox="1">
            <a:spLocks/>
          </p:cNvSpPr>
          <p:nvPr userDrawn="1"/>
        </p:nvSpPr>
        <p:spPr>
          <a:xfrm>
            <a:off x="0" y="6200777"/>
            <a:ext cx="12192000" cy="657225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DC1CA07-8C63-8647-8A4A-38C9BB1B9E32}"/>
              </a:ext>
            </a:extLst>
          </p:cNvPr>
          <p:cNvGrpSpPr/>
          <p:nvPr userDrawn="1"/>
        </p:nvGrpSpPr>
        <p:grpSpPr>
          <a:xfrm>
            <a:off x="-339919" y="-244225"/>
            <a:ext cx="12877237" cy="7348688"/>
            <a:chOff x="-254939" y="-244225"/>
            <a:chExt cx="9657928" cy="7348688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85C25219-E915-0247-86A1-22585D6E3093}"/>
                </a:ext>
              </a:extLst>
            </p:cNvPr>
            <p:cNvGrpSpPr/>
            <p:nvPr userDrawn="1"/>
          </p:nvGrpSpPr>
          <p:grpSpPr>
            <a:xfrm>
              <a:off x="433266" y="6867287"/>
              <a:ext cx="8280398" cy="235792"/>
              <a:chOff x="431801" y="-235792"/>
              <a:chExt cx="4400550" cy="235792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E473508A-53E9-294C-8A55-AA67E2E362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AEE1771F-109C-B54D-8B81-A3B0F5D0C4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1062115-5946-2E4B-8C29-C85175435B4D}"/>
                </a:ext>
              </a:extLst>
            </p:cNvPr>
            <p:cNvGrpSpPr/>
            <p:nvPr userDrawn="1"/>
          </p:nvGrpSpPr>
          <p:grpSpPr>
            <a:xfrm>
              <a:off x="-254939" y="6202098"/>
              <a:ext cx="251461" cy="505509"/>
              <a:chOff x="-256403" y="6200775"/>
              <a:chExt cx="251461" cy="505509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47C326A5-BE4B-1442-AC13-B44C5D4792CF}"/>
                  </a:ext>
                </a:extLst>
              </p:cNvPr>
              <p:cNvGrpSpPr/>
              <p:nvPr userDrawn="1"/>
            </p:nvGrpSpPr>
            <p:grpSpPr>
              <a:xfrm rot="16200000">
                <a:off x="-383427" y="6327799"/>
                <a:ext cx="505509" cy="251461"/>
                <a:chOff x="431800" y="-235792"/>
                <a:chExt cx="4400551" cy="235792"/>
              </a:xfrm>
            </p:grpSpPr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DBB5637D-AB15-E04F-A1B6-3A283BA1C6F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A1D7E4D6-88A2-7E4B-9284-DCED9F79105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F393F5F7-24EF-2745-BC86-DF4C9F389FCB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</p:grp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F75E910D-9604-9D4F-90E2-EF81D37C867B}"/>
                  </a:ext>
                </a:extLst>
              </p:cNvPr>
              <p:cNvSpPr txBox="1"/>
              <p:nvPr userDrawn="1"/>
            </p:nvSpPr>
            <p:spPr>
              <a:xfrm rot="16200000">
                <a:off x="-284561" y="6399801"/>
                <a:ext cx="307777" cy="129266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FOOT</a:t>
                </a:r>
                <a:b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</a:b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NOTES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92BBFA4-5FEF-524D-AD01-F867D593722F}"/>
                </a:ext>
              </a:extLst>
            </p:cNvPr>
            <p:cNvGrpSpPr/>
            <p:nvPr userDrawn="1"/>
          </p:nvGrpSpPr>
          <p:grpSpPr>
            <a:xfrm>
              <a:off x="433264" y="-244225"/>
              <a:ext cx="8280401" cy="235792"/>
              <a:chOff x="431800" y="-240735"/>
              <a:chExt cx="8280401" cy="235792"/>
            </a:xfrm>
          </p:grpSpPr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5A2E8C57-7A20-F840-9308-5611AA6C77E3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35EF9DEA-530C-4B42-B0F7-9C7D4C25A0A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B71C38FE-1DD7-7B4D-B6D4-CEB6C6D31A2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B274FA2B-3A29-0F4D-A4D3-1E12B5D4CEF3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</p:grp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AF99FA91-ECED-4D43-BCE4-7FAD08FA3B04}"/>
                  </a:ext>
                </a:extLst>
              </p:cNvPr>
              <p:cNvSpPr txBox="1"/>
              <p:nvPr userDrawn="1"/>
            </p:nvSpPr>
            <p:spPr>
              <a:xfrm>
                <a:off x="3914337" y="-176700"/>
                <a:ext cx="1315340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68" name="Straight Arrow Connector 67">
                <a:extLst>
                  <a:ext uri="{FF2B5EF4-FFF2-40B4-BE49-F238E27FC236}">
                    <a16:creationId xmlns:a16="http://schemas.microsoft.com/office/drawing/2014/main" id="{B34B6B73-1081-0E44-AF98-571C7E0BD066}"/>
                  </a:ext>
                </a:extLst>
              </p:cNvPr>
              <p:cNvCxnSpPr>
                <a:cxnSpLocks/>
                <a:stCxn id="67" idx="1"/>
                <a:endCxn id="72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3CF09107-5C11-FD44-BFDC-AE93DE20F6F2}"/>
                  </a:ext>
                </a:extLst>
              </p:cNvPr>
              <p:cNvCxnSpPr>
                <a:cxnSpLocks/>
                <a:stCxn id="67" idx="3"/>
                <a:endCxn id="72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D62B5D38-D820-3845-8687-4B3E3C84C708}"/>
                </a:ext>
              </a:extLst>
            </p:cNvPr>
            <p:cNvGrpSpPr/>
            <p:nvPr userDrawn="1"/>
          </p:nvGrpSpPr>
          <p:grpSpPr>
            <a:xfrm rot="16200000">
              <a:off x="9024504" y="6329122"/>
              <a:ext cx="505509" cy="251461"/>
              <a:chOff x="431801" y="-235792"/>
              <a:chExt cx="4400550" cy="235792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872C320-D6C1-DA4E-9AD7-B7A0A8B4D5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EAF17C3F-BCF7-E84D-B2B3-0197BB3DE5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6482D8A-4DDA-CF4B-9EFA-753740F85D70}"/>
                </a:ext>
              </a:extLst>
            </p:cNvPr>
            <p:cNvGrpSpPr/>
            <p:nvPr userDrawn="1"/>
          </p:nvGrpSpPr>
          <p:grpSpPr>
            <a:xfrm>
              <a:off x="-254939" y="420689"/>
              <a:ext cx="9657928" cy="5746484"/>
              <a:chOff x="-254939" y="1236195"/>
              <a:chExt cx="9657928" cy="4930977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BA0B2552-2063-B94B-8753-4FFD2EFDAEFA}"/>
                  </a:ext>
                </a:extLst>
              </p:cNvPr>
              <p:cNvGrpSpPr/>
              <p:nvPr userDrawn="1"/>
            </p:nvGrpSpPr>
            <p:grpSpPr>
              <a:xfrm>
                <a:off x="-254939" y="1236195"/>
                <a:ext cx="251461" cy="4930977"/>
                <a:chOff x="-256403" y="1304924"/>
                <a:chExt cx="251461" cy="4843215"/>
              </a:xfrm>
            </p:grpSpPr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3E908781-EB9C-7F43-9C77-51D6DF0D08FB}"/>
                    </a:ext>
                  </a:extLst>
                </p:cNvPr>
                <p:cNvGrpSpPr/>
                <p:nvPr userDrawn="1"/>
              </p:nvGrpSpPr>
              <p:grpSpPr>
                <a:xfrm rot="16200000">
                  <a:off x="-2552280" y="3600801"/>
                  <a:ext cx="4843215" cy="251461"/>
                  <a:chOff x="431800" y="-235792"/>
                  <a:chExt cx="4400551" cy="235792"/>
                </a:xfrm>
              </p:grpSpPr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6348B6E7-397E-7443-A5B3-B13B784EE033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832351" y="-235792"/>
                    <a:ext cx="0" cy="235792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DCC8C989-AEB2-1342-A4F6-C0CE5593C320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31801" y="-235792"/>
                    <a:ext cx="0" cy="235791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2" name="Rectangle 81">
                    <a:extLst>
                      <a:ext uri="{FF2B5EF4-FFF2-40B4-BE49-F238E27FC236}">
                        <a16:creationId xmlns:a16="http://schemas.microsoft.com/office/drawing/2014/main" id="{E694B1DC-BFA9-8E48-96CE-C60F1DE2D2C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2514180" y="-2318172"/>
                    <a:ext cx="235791" cy="4400551"/>
                  </a:xfrm>
                  <a:prstGeom prst="rect">
                    <a:avLst/>
                  </a:prstGeom>
                  <a:solidFill>
                    <a:schemeClr val="accent2">
                      <a:alpha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400" dirty="0"/>
                  </a:p>
                </p:txBody>
              </p:sp>
            </p:grp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FC816E2B-0C94-D948-9F64-0CD5F0050148}"/>
                    </a:ext>
                  </a:extLst>
                </p:cNvPr>
                <p:cNvSpPr txBox="1"/>
                <p:nvPr userDrawn="1"/>
              </p:nvSpPr>
              <p:spPr>
                <a:xfrm rot="16200000">
                  <a:off x="-869729" y="3686135"/>
                  <a:ext cx="1478115" cy="80792"/>
                </a:xfrm>
                <a:prstGeom prst="rect">
                  <a:avLst/>
                </a:prstGeom>
              </p:spPr>
              <p:txBody>
                <a:bodyPr vert="horz" wrap="none" lIns="108000" tIns="0" rIns="108000" bIns="0" rtlCol="0" anchor="ctr">
                  <a:spAutoFit/>
                </a:bodyPr>
                <a:lstStyle/>
                <a:p>
                  <a:pPr algn="ctr"/>
                  <a:r>
                    <a:rPr lang="en-US" sz="7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KEEP CONTENT WITHIN THIS AREA</a:t>
                  </a:r>
                </a:p>
              </p:txBody>
            </p:sp>
            <p:cxnSp>
              <p:nvCxnSpPr>
                <p:cNvPr id="76" name="Straight Arrow Connector 75">
                  <a:extLst>
                    <a:ext uri="{FF2B5EF4-FFF2-40B4-BE49-F238E27FC236}">
                      <a16:creationId xmlns:a16="http://schemas.microsoft.com/office/drawing/2014/main" id="{9C4CC1A9-A535-1144-8940-768AF7ABE4E6}"/>
                    </a:ext>
                  </a:extLst>
                </p:cNvPr>
                <p:cNvCxnSpPr>
                  <a:cxnSpLocks/>
                  <a:stCxn id="75" idx="1"/>
                </p:cNvCxnSpPr>
                <p:nvPr userDrawn="1"/>
              </p:nvCxnSpPr>
              <p:spPr>
                <a:xfrm>
                  <a:off x="-130672" y="4603424"/>
                  <a:ext cx="0" cy="1544714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Arrow Connector 76">
                  <a:extLst>
                    <a:ext uri="{FF2B5EF4-FFF2-40B4-BE49-F238E27FC236}">
                      <a16:creationId xmlns:a16="http://schemas.microsoft.com/office/drawing/2014/main" id="{019F48B9-23E2-DA45-B7FC-8F11E3B079C4}"/>
                    </a:ext>
                  </a:extLst>
                </p:cNvPr>
                <p:cNvCxnSpPr>
                  <a:cxnSpLocks/>
                  <a:stCxn id="75" idx="3"/>
                </p:cNvCxnSpPr>
                <p:nvPr userDrawn="1"/>
              </p:nvCxnSpPr>
              <p:spPr>
                <a:xfrm flipH="1" flipV="1">
                  <a:off x="-130673" y="1304928"/>
                  <a:ext cx="1" cy="1544710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D55D1E59-56A3-A24A-8DE5-328F3950FCC9}"/>
                  </a:ext>
                </a:extLst>
              </p:cNvPr>
              <p:cNvGrpSpPr/>
              <p:nvPr userDrawn="1"/>
            </p:nvGrpSpPr>
            <p:grpSpPr>
              <a:xfrm rot="16200000">
                <a:off x="6812666" y="3576847"/>
                <a:ext cx="4929186" cy="251461"/>
                <a:chOff x="431801" y="-235792"/>
                <a:chExt cx="4462347" cy="235792"/>
              </a:xfrm>
            </p:grpSpPr>
            <p:cxnSp>
              <p:nvCxnSpPr>
                <p:cNvPr id="96" name="Straight Connector 95">
                  <a:extLst>
                    <a:ext uri="{FF2B5EF4-FFF2-40B4-BE49-F238E27FC236}">
                      <a16:creationId xmlns:a16="http://schemas.microsoft.com/office/drawing/2014/main" id="{E20DEBD3-0096-5648-87C1-52DA194811C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94148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>
                  <a:extLst>
                    <a:ext uri="{FF2B5EF4-FFF2-40B4-BE49-F238E27FC236}">
                      <a16:creationId xmlns:a16="http://schemas.microsoft.com/office/drawing/2014/main" id="{FBF68087-6890-E04C-840F-0B5D5B30DC9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5BB4E0DB-92A2-CE4B-A4D4-C21071C96CD3}"/>
                </a:ext>
              </a:extLst>
            </p:cNvPr>
            <p:cNvGrpSpPr/>
            <p:nvPr userDrawn="1"/>
          </p:nvGrpSpPr>
          <p:grpSpPr>
            <a:xfrm>
              <a:off x="3123421" y="6868673"/>
              <a:ext cx="2930114" cy="235790"/>
              <a:chOff x="3121388" y="6869197"/>
              <a:chExt cx="2930114" cy="235790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57650860-F98A-2D48-91EC-A5A2807BDC6C}"/>
                  </a:ext>
                </a:extLst>
              </p:cNvPr>
              <p:cNvGrpSpPr/>
              <p:nvPr userDrawn="1"/>
            </p:nvGrpSpPr>
            <p:grpSpPr>
              <a:xfrm>
                <a:off x="3184525" y="6869197"/>
                <a:ext cx="2774950" cy="60992"/>
                <a:chOff x="3184525" y="6869196"/>
                <a:chExt cx="2774950" cy="235791"/>
              </a:xfrm>
            </p:grpSpPr>
            <p:cxnSp>
              <p:nvCxnSpPr>
                <p:cNvPr id="110" name="Straight Connector 109">
                  <a:extLst>
                    <a:ext uri="{FF2B5EF4-FFF2-40B4-BE49-F238E27FC236}">
                      <a16:creationId xmlns:a16="http://schemas.microsoft.com/office/drawing/2014/main" id="{C0D7E8B1-DE64-BA4B-916D-7BA67CF2D79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347BA98E-93B4-5545-9E4E-912B913A534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E53E46C5-BA51-D94B-A108-538A6E5925D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18481EF9-B9B8-5944-A70D-4FBD6F01668A}"/>
                  </a:ext>
                </a:extLst>
              </p:cNvPr>
              <p:cNvSpPr txBox="1"/>
              <p:nvPr userDrawn="1"/>
            </p:nvSpPr>
            <p:spPr>
              <a:xfrm>
                <a:off x="3121388" y="6954537"/>
                <a:ext cx="153888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1/3</a:t>
                </a:r>
                <a:r>
                  <a:rPr lang="en-US" sz="650" kern="1200" baseline="300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</a:t>
                </a: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9B8FEDA2-CA5E-DB41-B9C8-5477A54FB095}"/>
                  </a:ext>
                </a:extLst>
              </p:cNvPr>
              <p:cNvSpPr txBox="1"/>
              <p:nvPr userDrawn="1"/>
            </p:nvSpPr>
            <p:spPr>
              <a:xfrm>
                <a:off x="4487991" y="6954537"/>
                <a:ext cx="170720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HALF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95AD9D7F-B960-1248-B6F7-12B9FEDAAF39}"/>
                  </a:ext>
                </a:extLst>
              </p:cNvPr>
              <p:cNvSpPr txBox="1"/>
              <p:nvPr userDrawn="1"/>
            </p:nvSpPr>
            <p:spPr>
              <a:xfrm>
                <a:off x="5869961" y="6954537"/>
                <a:ext cx="181541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2/3</a:t>
                </a:r>
                <a:r>
                  <a:rPr lang="en-US" sz="650" baseline="300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S</a:t>
                </a:r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F018DC65-22A5-C346-8BF0-7E16A1FC62E9}"/>
                  </a:ext>
                </a:extLst>
              </p:cNvPr>
              <p:cNvGrpSpPr/>
              <p:nvPr userDrawn="1"/>
            </p:nvGrpSpPr>
            <p:grpSpPr>
              <a:xfrm>
                <a:off x="3184525" y="7040714"/>
                <a:ext cx="2774950" cy="64273"/>
                <a:chOff x="3184525" y="6869196"/>
                <a:chExt cx="2774950" cy="235791"/>
              </a:xfrm>
            </p:grpSpPr>
            <p:cxnSp>
              <p:nvCxnSpPr>
                <p:cNvPr id="107" name="Straight Connector 106">
                  <a:extLst>
                    <a:ext uri="{FF2B5EF4-FFF2-40B4-BE49-F238E27FC236}">
                      <a16:creationId xmlns:a16="http://schemas.microsoft.com/office/drawing/2014/main" id="{E67C92E6-78A9-F947-92B0-F6468A7334E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Straight Connector 107">
                  <a:extLst>
                    <a:ext uri="{FF2B5EF4-FFF2-40B4-BE49-F238E27FC236}">
                      <a16:creationId xmlns:a16="http://schemas.microsoft.com/office/drawing/2014/main" id="{D27020A8-1DFE-AD41-98F4-8C87CFF0EED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Straight Connector 108">
                  <a:extLst>
                    <a:ext uri="{FF2B5EF4-FFF2-40B4-BE49-F238E27FC236}">
                      <a16:creationId xmlns:a16="http://schemas.microsoft.com/office/drawing/2014/main" id="{FADC7F65-2D38-BF45-951F-C8F488F9763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7" name="Picture Placeholder 10">
            <a:extLst>
              <a:ext uri="{FF2B5EF4-FFF2-40B4-BE49-F238E27FC236}">
                <a16:creationId xmlns:a16="http://schemas.microsoft.com/office/drawing/2014/main" id="{D9C96E41-86C9-6047-85B6-214B5F3F109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image onto slide to add photo</a:t>
            </a:r>
          </a:p>
        </p:txBody>
      </p:sp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DC9253A4-356A-9740-9187-428DE58AB885}"/>
              </a:ext>
            </a:extLst>
          </p:cNvPr>
          <p:cNvSpPr>
            <a:spLocks noGrp="1"/>
          </p:cNvSpPr>
          <p:nvPr>
            <p:ph type="body" sz="quarter" idx="200"/>
          </p:nvPr>
        </p:nvSpPr>
        <p:spPr>
          <a:xfrm>
            <a:off x="0" y="0"/>
            <a:ext cx="6096000" cy="6858000"/>
          </a:xfrm>
          <a:gradFill>
            <a:gsLst>
              <a:gs pos="13000">
                <a:schemeClr val="accent1"/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lIns="432000" rIns="360000" bIns="36000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1518A119-6232-A242-B4A2-83D06D216BA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575733" y="6200775"/>
            <a:ext cx="4934115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bg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bg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bg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bg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bg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bg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bg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bg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E84BD5-7F9D-AE47-BCAB-D3922B3DA1BC}"/>
              </a:ext>
            </a:extLst>
          </p:cNvPr>
          <p:cNvSpPr>
            <a:spLocks noGrp="1"/>
          </p:cNvSpPr>
          <p:nvPr>
            <p:ph type="dt" sz="half" idx="1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FF406A-59D4-BB4E-A45D-EEB4EEBCE329}"/>
              </a:ext>
            </a:extLst>
          </p:cNvPr>
          <p:cNvSpPr>
            <a:spLocks noGrp="1"/>
          </p:cNvSpPr>
          <p:nvPr>
            <p:ph type="ftr" sz="quarter" idx="1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9E870A-0204-114F-9189-EE4D27C77AFE}"/>
              </a:ext>
            </a:extLst>
          </p:cNvPr>
          <p:cNvSpPr>
            <a:spLocks noGrp="1"/>
          </p:cNvSpPr>
          <p:nvPr>
            <p:ph type="sldNum" sz="quarter" idx="1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12700"/>
            <a:fld id="{078C017C-E1B9-8443-B047-B08AAA027B45}" type="slidenum">
              <a:rPr lang="en-US" smtClean="0"/>
              <a:pPr marL="12700"/>
              <a:t>‹#›</a:t>
            </a:fld>
            <a:endParaRPr lang="en-US" dirty="0"/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3907BEE1-E170-4B45-8716-60BA2FC22521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7947046" y="5912275"/>
            <a:ext cx="3657167" cy="440850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2368DF05-568B-8542-8C72-DF1F57E7755B}"/>
              </a:ext>
            </a:extLst>
          </p:cNvPr>
          <p:cNvGrpSpPr/>
          <p:nvPr userDrawn="1"/>
        </p:nvGrpSpPr>
        <p:grpSpPr>
          <a:xfrm>
            <a:off x="12532244" y="-2"/>
            <a:ext cx="3948953" cy="11187339"/>
            <a:chOff x="9399182" y="-2"/>
            <a:chExt cx="2961715" cy="11187339"/>
          </a:xfrm>
        </p:grpSpPr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46F9184D-8E86-4D45-B84F-2FFA5448B70D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1101500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400" dirty="0"/>
            </a:p>
          </p:txBody>
        </p:sp>
        <p:pic>
          <p:nvPicPr>
            <p:cNvPr id="146" name="Picture 145">
              <a:extLst>
                <a:ext uri="{FF2B5EF4-FFF2-40B4-BE49-F238E27FC236}">
                  <a16:creationId xmlns:a16="http://schemas.microsoft.com/office/drawing/2014/main" id="{C603612C-55C8-C541-8D50-2F8B676C0A9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58505" y="1321569"/>
              <a:ext cx="2639327" cy="1095417"/>
            </a:xfrm>
            <a:prstGeom prst="rect">
              <a:avLst/>
            </a:prstGeom>
          </p:spPr>
        </p:pic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9A91BC00-A745-1C44-8C0F-2E56EB93F065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9382585A-4F78-B447-8773-3700C9C77510}"/>
                </a:ext>
              </a:extLst>
            </p:cNvPr>
            <p:cNvSpPr txBox="1"/>
            <p:nvPr userDrawn="1"/>
          </p:nvSpPr>
          <p:spPr>
            <a:xfrm>
              <a:off x="10147060" y="306441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149" name="Picture 148">
              <a:extLst>
                <a:ext uri="{FF2B5EF4-FFF2-40B4-BE49-F238E27FC236}">
                  <a16:creationId xmlns:a16="http://schemas.microsoft.com/office/drawing/2014/main" id="{FA314583-5943-5747-A179-6750C843A6D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667736F2-0684-7049-915D-E1AE4FEF1C1F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7143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1100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8B02C5E0-ADB8-2F46-8348-B72DA9D08CF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CDE6DBBA-CE9A-2042-B7D5-0165AD2334E5}"/>
                </a:ext>
              </a:extLst>
            </p:cNvPr>
            <p:cNvGrpSpPr/>
            <p:nvPr userDrawn="1"/>
          </p:nvGrpSpPr>
          <p:grpSpPr>
            <a:xfrm>
              <a:off x="9521833" y="3751281"/>
              <a:ext cx="2754815" cy="7436056"/>
              <a:chOff x="9521833" y="2531409"/>
              <a:chExt cx="2754815" cy="7436056"/>
            </a:xfrm>
          </p:grpSpPr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A854AB62-018A-CB4B-8521-979E582C96DE}"/>
                  </a:ext>
                </a:extLst>
              </p:cNvPr>
              <p:cNvSpPr txBox="1"/>
              <p:nvPr userDrawn="1"/>
            </p:nvSpPr>
            <p:spPr>
              <a:xfrm>
                <a:off x="9558507" y="3953640"/>
                <a:ext cx="123351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1100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511FF7D6-EE76-9E48-B953-E8C488A6DC3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415625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5EE5D691-B3DD-7940-A2EE-4F1242AE5D3A}"/>
                  </a:ext>
                </a:extLst>
              </p:cNvPr>
              <p:cNvSpPr txBox="1"/>
              <p:nvPr userDrawn="1"/>
            </p:nvSpPr>
            <p:spPr>
              <a:xfrm>
                <a:off x="9686426" y="5014567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DA9D6203-1E48-DF4B-BDC3-B397A843D5F5}"/>
                  </a:ext>
                </a:extLst>
              </p:cNvPr>
              <p:cNvSpPr/>
              <p:nvPr userDrawn="1"/>
            </p:nvSpPr>
            <p:spPr>
              <a:xfrm>
                <a:off x="9541497" y="8556150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C3359E59-5350-D34B-A3EA-40E99A3FD6B7}"/>
                  </a:ext>
                </a:extLst>
              </p:cNvPr>
              <p:cNvSpPr txBox="1"/>
              <p:nvPr userDrawn="1"/>
            </p:nvSpPr>
            <p:spPr>
              <a:xfrm>
                <a:off x="9907688" y="8684950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166" name="Graphic 165">
                <a:extLst>
                  <a:ext uri="{FF2B5EF4-FFF2-40B4-BE49-F238E27FC236}">
                    <a16:creationId xmlns:a16="http://schemas.microsoft.com/office/drawing/2014/main" id="{050619D2-D343-C74D-A7AE-31444836923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8695233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00C56975-AB4A-2543-A94B-0493E8E4AF6F}"/>
                  </a:ext>
                </a:extLst>
              </p:cNvPr>
              <p:cNvSpPr txBox="1"/>
              <p:nvPr userDrawn="1"/>
            </p:nvSpPr>
            <p:spPr>
              <a:xfrm>
                <a:off x="9716735" y="9264933"/>
                <a:ext cx="2413353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34938" lvl="1" indent="-131763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D124988A-7981-B841-BB41-B682BE6C4461}"/>
                  </a:ext>
                </a:extLst>
              </p:cNvPr>
              <p:cNvSpPr txBox="1"/>
              <p:nvPr userDrawn="1"/>
            </p:nvSpPr>
            <p:spPr>
              <a:xfrm>
                <a:off x="9716735" y="8946089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169" name="TextBox 168">
                <a:extLst>
                  <a:ext uri="{FF2B5EF4-FFF2-40B4-BE49-F238E27FC236}">
                    <a16:creationId xmlns:a16="http://schemas.microsoft.com/office/drawing/2014/main" id="{556222D6-2C29-844E-BCEB-F80A3A82B3EB}"/>
                  </a:ext>
                </a:extLst>
              </p:cNvPr>
              <p:cNvSpPr txBox="1"/>
              <p:nvPr userDrawn="1"/>
            </p:nvSpPr>
            <p:spPr>
              <a:xfrm>
                <a:off x="9716735" y="9714610"/>
                <a:ext cx="2422981" cy="1384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A64B4767-3CEA-BC46-97EA-2C980219C696}"/>
                  </a:ext>
                </a:extLst>
              </p:cNvPr>
              <p:cNvSpPr/>
              <p:nvPr userDrawn="1"/>
            </p:nvSpPr>
            <p:spPr>
              <a:xfrm>
                <a:off x="9541497" y="7199494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171" name="TextBox 170">
                <a:extLst>
                  <a:ext uri="{FF2B5EF4-FFF2-40B4-BE49-F238E27FC236}">
                    <a16:creationId xmlns:a16="http://schemas.microsoft.com/office/drawing/2014/main" id="{2D773D81-6CE7-9842-A402-24F9E5DA7A41}"/>
                  </a:ext>
                </a:extLst>
              </p:cNvPr>
              <p:cNvSpPr txBox="1"/>
              <p:nvPr userDrawn="1"/>
            </p:nvSpPr>
            <p:spPr>
              <a:xfrm>
                <a:off x="9907688" y="7328293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172" name="Graphic 171">
                <a:extLst>
                  <a:ext uri="{FF2B5EF4-FFF2-40B4-BE49-F238E27FC236}">
                    <a16:creationId xmlns:a16="http://schemas.microsoft.com/office/drawing/2014/main" id="{36B14339-67DD-8D4B-B01C-96674861DC3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7338576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780D3816-2F37-C44F-BB3D-AAD1BD77FCFA}"/>
                  </a:ext>
                </a:extLst>
              </p:cNvPr>
              <p:cNvSpPr txBox="1"/>
              <p:nvPr userDrawn="1"/>
            </p:nvSpPr>
            <p:spPr>
              <a:xfrm>
                <a:off x="9701720" y="7592477"/>
                <a:ext cx="2384904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174" name="Picture 173">
                <a:extLst>
                  <a:ext uri="{FF2B5EF4-FFF2-40B4-BE49-F238E27FC236}">
                    <a16:creationId xmlns:a16="http://schemas.microsoft.com/office/drawing/2014/main" id="{0A78A0F4-3B2A-0840-B2ED-D10184A35C2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498723" y="7676910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86D47968-FA35-774E-AF51-0C090A1928AC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303787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12E64578-3F1D-6649-852E-6A3EAA8D6CBB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799341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030BA93C-7BDC-A64D-B6DC-746732C83C30}"/>
                  </a:ext>
                </a:extLst>
              </p:cNvPr>
              <p:cNvSpPr txBox="1"/>
              <p:nvPr userDrawn="1"/>
            </p:nvSpPr>
            <p:spPr>
              <a:xfrm>
                <a:off x="9686426" y="4278760"/>
                <a:ext cx="2453290" cy="65146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1050" dirty="0"/>
                  <a:t>Select and download images from the Marketing Resource Database.</a:t>
                </a:r>
              </a:p>
              <a:p>
                <a:pPr lvl="0"/>
                <a:r>
                  <a:rPr lang="en-US" sz="1050" dirty="0"/>
                  <a:t>Add the image to the placeholder.</a:t>
                </a:r>
              </a:p>
            </p:txBody>
          </p:sp>
          <p:sp>
            <p:nvSpPr>
              <p:cNvPr id="178" name="TextBox 177">
                <a:extLst>
                  <a:ext uri="{FF2B5EF4-FFF2-40B4-BE49-F238E27FC236}">
                    <a16:creationId xmlns:a16="http://schemas.microsoft.com/office/drawing/2014/main" id="{581B96C2-BEBF-A94F-82A9-8A26BA103B53}"/>
                  </a:ext>
                </a:extLst>
              </p:cNvPr>
              <p:cNvSpPr txBox="1"/>
              <p:nvPr userDrawn="1"/>
            </p:nvSpPr>
            <p:spPr>
              <a:xfrm>
                <a:off x="9674267" y="5297872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0EFE05D7-5CE1-7146-8853-1139A08DF9E6}"/>
                  </a:ext>
                </a:extLst>
              </p:cNvPr>
              <p:cNvSpPr txBox="1"/>
              <p:nvPr userDrawn="1"/>
            </p:nvSpPr>
            <p:spPr>
              <a:xfrm>
                <a:off x="9686426" y="5713129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E8BD0C13-8FBE-394A-910E-10615590B6A1}"/>
                  </a:ext>
                </a:extLst>
              </p:cNvPr>
              <p:cNvSpPr txBox="1"/>
              <p:nvPr userDrawn="1"/>
            </p:nvSpPr>
            <p:spPr>
              <a:xfrm>
                <a:off x="9686426" y="6433219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D7FB5246-47EA-FD4F-8D6E-196E7AD7FA38}"/>
                  </a:ext>
                </a:extLst>
              </p:cNvPr>
              <p:cNvSpPr txBox="1"/>
              <p:nvPr userDrawn="1"/>
            </p:nvSpPr>
            <p:spPr>
              <a:xfrm>
                <a:off x="9674267" y="6863782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B89C480E-A71A-D44E-B608-4344003C99CB}"/>
                  </a:ext>
                </a:extLst>
              </p:cNvPr>
              <p:cNvSpPr/>
              <p:nvPr userDrawn="1"/>
            </p:nvSpPr>
            <p:spPr>
              <a:xfrm>
                <a:off x="9541497" y="2531409"/>
                <a:ext cx="2735151" cy="13262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DD62B91F-6210-1449-A8C8-796BD40FAB50}"/>
                  </a:ext>
                </a:extLst>
              </p:cNvPr>
              <p:cNvSpPr txBox="1"/>
              <p:nvPr userDrawn="1"/>
            </p:nvSpPr>
            <p:spPr>
              <a:xfrm>
                <a:off x="9907688" y="2660209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Adjust overlay text box size</a:t>
                </a:r>
              </a:p>
            </p:txBody>
          </p:sp>
          <p:pic>
            <p:nvPicPr>
              <p:cNvPr id="184" name="Graphic 183">
                <a:extLst>
                  <a:ext uri="{FF2B5EF4-FFF2-40B4-BE49-F238E27FC236}">
                    <a16:creationId xmlns:a16="http://schemas.microsoft.com/office/drawing/2014/main" id="{BC18E47A-0D07-5E4B-92C8-9B3BB2EA831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2670492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A34A608C-8516-8545-9041-572194C4BC91}"/>
                  </a:ext>
                </a:extLst>
              </p:cNvPr>
              <p:cNvSpPr txBox="1"/>
              <p:nvPr userDrawn="1"/>
            </p:nvSpPr>
            <p:spPr>
              <a:xfrm>
                <a:off x="9701720" y="2924393"/>
                <a:ext cx="2214055" cy="53707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If extra space is required for content, use the size handle on this shape to extend the right edge of the shape to the “2/3rds” slide ruler mark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urn on guides (View &gt; Guides) to enable snapping.</a:t>
                </a:r>
              </a:p>
            </p:txBody>
          </p:sp>
        </p:grp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D31E61DD-2C09-1F45-A7EF-4AD5FA85F952}"/>
                </a:ext>
              </a:extLst>
            </p:cNvPr>
            <p:cNvGrpSpPr/>
            <p:nvPr userDrawn="1"/>
          </p:nvGrpSpPr>
          <p:grpSpPr>
            <a:xfrm>
              <a:off x="9540503" y="2468708"/>
              <a:ext cx="2806644" cy="1181890"/>
              <a:chOff x="9554253" y="2414886"/>
              <a:chExt cx="2806644" cy="1181890"/>
            </a:xfrm>
          </p:grpSpPr>
          <p:grpSp>
            <p:nvGrpSpPr>
              <p:cNvPr id="154" name="Group 153">
                <a:extLst>
                  <a:ext uri="{FF2B5EF4-FFF2-40B4-BE49-F238E27FC236}">
                    <a16:creationId xmlns:a16="http://schemas.microsoft.com/office/drawing/2014/main" id="{AE515DAB-7829-4E46-8033-92951355A1AC}"/>
                  </a:ext>
                </a:extLst>
              </p:cNvPr>
              <p:cNvGrpSpPr/>
              <p:nvPr userDrawn="1"/>
            </p:nvGrpSpPr>
            <p:grpSpPr>
              <a:xfrm>
                <a:off x="9554253" y="2414886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156" name="Group 155">
                  <a:extLst>
                    <a:ext uri="{FF2B5EF4-FFF2-40B4-BE49-F238E27FC236}">
                      <a16:creationId xmlns:a16="http://schemas.microsoft.com/office/drawing/2014/main" id="{5785614C-7308-5841-9902-E01FC7DF0F79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158" name="Rectangle 157">
                    <a:extLst>
                      <a:ext uri="{FF2B5EF4-FFF2-40B4-BE49-F238E27FC236}">
                        <a16:creationId xmlns:a16="http://schemas.microsoft.com/office/drawing/2014/main" id="{59501F35-B809-2B4D-94F5-1FBC3C009A8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400" dirty="0"/>
                  </a:p>
                </p:txBody>
              </p:sp>
              <p:sp>
                <p:nvSpPr>
                  <p:cNvPr id="159" name="TextBox 158">
                    <a:extLst>
                      <a:ext uri="{FF2B5EF4-FFF2-40B4-BE49-F238E27FC236}">
                        <a16:creationId xmlns:a16="http://schemas.microsoft.com/office/drawing/2014/main" id="{9CDE9FBA-1F86-8948-A493-6011E0A7AAC8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160" name="TextBox 159">
                    <a:extLst>
                      <a:ext uri="{FF2B5EF4-FFF2-40B4-BE49-F238E27FC236}">
                        <a16:creationId xmlns:a16="http://schemas.microsoft.com/office/drawing/2014/main" id="{45394A56-E008-A14E-AECC-1347077C6587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55399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157" name="Graphic 156">
                  <a:extLst>
                    <a:ext uri="{FF2B5EF4-FFF2-40B4-BE49-F238E27FC236}">
                      <a16:creationId xmlns:a16="http://schemas.microsoft.com/office/drawing/2014/main" id="{33074372-DE62-C049-AC9B-F5C2A42664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155" name="Picture 154">
                <a:extLst>
                  <a:ext uri="{FF2B5EF4-FFF2-40B4-BE49-F238E27FC236}">
                    <a16:creationId xmlns:a16="http://schemas.microsoft.com/office/drawing/2014/main" id="{538972A4-60AB-0A4B-AD4C-080FA477074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779975" y="2820522"/>
                <a:ext cx="1580922" cy="695279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467451783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DBF7CE65-A49E-3C40-A08E-4922AF1EE5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12192001" cy="6858001"/>
          </a:xfrm>
          <a:custGeom>
            <a:avLst/>
            <a:gdLst>
              <a:gd name="connsiteX0" fmla="*/ 8545320 w 9144001"/>
              <a:gd name="connsiteY0" fmla="*/ 6577275 h 6858001"/>
              <a:gd name="connsiteX1" fmla="*/ 8554630 w 9144001"/>
              <a:gd name="connsiteY1" fmla="*/ 6577275 h 6858001"/>
              <a:gd name="connsiteX2" fmla="*/ 8572756 w 9144001"/>
              <a:gd name="connsiteY2" fmla="*/ 6592564 h 6858001"/>
              <a:gd name="connsiteX3" fmla="*/ 8552840 w 9144001"/>
              <a:gd name="connsiteY3" fmla="*/ 6608587 h 6858001"/>
              <a:gd name="connsiteX4" fmla="*/ 8552840 w 9144001"/>
              <a:gd name="connsiteY4" fmla="*/ 6608474 h 6858001"/>
              <a:gd name="connsiteX5" fmla="*/ 8545320 w 9144001"/>
              <a:gd name="connsiteY5" fmla="*/ 6608474 h 6858001"/>
              <a:gd name="connsiteX6" fmla="*/ 8440531 w 9144001"/>
              <a:gd name="connsiteY6" fmla="*/ 6576165 h 6858001"/>
              <a:gd name="connsiteX7" fmla="*/ 8450869 w 9144001"/>
              <a:gd name="connsiteY7" fmla="*/ 6576165 h 6858001"/>
              <a:gd name="connsiteX8" fmla="*/ 8486566 w 9144001"/>
              <a:gd name="connsiteY8" fmla="*/ 6607214 h 6858001"/>
              <a:gd name="connsiteX9" fmla="*/ 8452487 w 9144001"/>
              <a:gd name="connsiteY9" fmla="*/ 6640295 h 6858001"/>
              <a:gd name="connsiteX10" fmla="*/ 8440531 w 9144001"/>
              <a:gd name="connsiteY10" fmla="*/ 6640295 h 6858001"/>
              <a:gd name="connsiteX11" fmla="*/ 8359312 w 9144001"/>
              <a:gd name="connsiteY11" fmla="*/ 6554745 h 6858001"/>
              <a:gd name="connsiteX12" fmla="*/ 8357846 w 9144001"/>
              <a:gd name="connsiteY12" fmla="*/ 6557848 h 6858001"/>
              <a:gd name="connsiteX13" fmla="*/ 8338065 w 9144001"/>
              <a:gd name="connsiteY13" fmla="*/ 6599654 h 6858001"/>
              <a:gd name="connsiteX14" fmla="*/ 8338065 w 9144001"/>
              <a:gd name="connsiteY14" fmla="*/ 6661565 h 6858001"/>
              <a:gd name="connsiteX15" fmla="*/ 8406528 w 9144001"/>
              <a:gd name="connsiteY15" fmla="*/ 6661565 h 6858001"/>
              <a:gd name="connsiteX16" fmla="*/ 8406528 w 9144001"/>
              <a:gd name="connsiteY16" fmla="*/ 6638978 h 6858001"/>
              <a:gd name="connsiteX17" fmla="*/ 8363158 w 9144001"/>
              <a:gd name="connsiteY17" fmla="*/ 6638978 h 6858001"/>
              <a:gd name="connsiteX18" fmla="*/ 8363158 w 9144001"/>
              <a:gd name="connsiteY18" fmla="*/ 6618141 h 6858001"/>
              <a:gd name="connsiteX19" fmla="*/ 8402682 w 9144001"/>
              <a:gd name="connsiteY19" fmla="*/ 6618141 h 6858001"/>
              <a:gd name="connsiteX20" fmla="*/ 8402682 w 9144001"/>
              <a:gd name="connsiteY20" fmla="*/ 6596570 h 6858001"/>
              <a:gd name="connsiteX21" fmla="*/ 8363158 w 9144001"/>
              <a:gd name="connsiteY21" fmla="*/ 6596570 h 6858001"/>
              <a:gd name="connsiteX22" fmla="*/ 8363158 w 9144001"/>
              <a:gd name="connsiteY22" fmla="*/ 6577482 h 6858001"/>
              <a:gd name="connsiteX23" fmla="*/ 8406528 w 9144001"/>
              <a:gd name="connsiteY23" fmla="*/ 6577482 h 6858001"/>
              <a:gd name="connsiteX24" fmla="*/ 8406528 w 9144001"/>
              <a:gd name="connsiteY24" fmla="*/ 6554745 h 6858001"/>
              <a:gd name="connsiteX25" fmla="*/ 8245575 w 9144001"/>
              <a:gd name="connsiteY25" fmla="*/ 6554726 h 6858001"/>
              <a:gd name="connsiteX26" fmla="*/ 8262082 w 9144001"/>
              <a:gd name="connsiteY26" fmla="*/ 6589123 h 6858001"/>
              <a:gd name="connsiteX27" fmla="*/ 8288526 w 9144001"/>
              <a:gd name="connsiteY27" fmla="*/ 6589123 h 6858001"/>
              <a:gd name="connsiteX28" fmla="*/ 8273962 w 9144001"/>
              <a:gd name="connsiteY28" fmla="*/ 6554726 h 6858001"/>
              <a:gd name="connsiteX29" fmla="*/ 8520246 w 9144001"/>
              <a:gd name="connsiteY29" fmla="*/ 6554707 h 6858001"/>
              <a:gd name="connsiteX30" fmla="*/ 8520246 w 9144001"/>
              <a:gd name="connsiteY30" fmla="*/ 6661564 h 6858001"/>
              <a:gd name="connsiteX31" fmla="*/ 8545320 w 9144001"/>
              <a:gd name="connsiteY31" fmla="*/ 6661564 h 6858001"/>
              <a:gd name="connsiteX32" fmla="*/ 8545320 w 9144001"/>
              <a:gd name="connsiteY32" fmla="*/ 6629932 h 6858001"/>
              <a:gd name="connsiteX33" fmla="*/ 8554630 w 9144001"/>
              <a:gd name="connsiteY33" fmla="*/ 6629932 h 6858001"/>
              <a:gd name="connsiteX34" fmla="*/ 8598420 w 9144001"/>
              <a:gd name="connsiteY34" fmla="*/ 6592019 h 6858001"/>
              <a:gd name="connsiteX35" fmla="*/ 8550346 w 9144001"/>
              <a:gd name="connsiteY35" fmla="*/ 6554707 h 6858001"/>
              <a:gd name="connsiteX36" fmla="*/ 8415495 w 9144001"/>
              <a:gd name="connsiteY36" fmla="*/ 6554707 h 6858001"/>
              <a:gd name="connsiteX37" fmla="*/ 8415495 w 9144001"/>
              <a:gd name="connsiteY37" fmla="*/ 6661470 h 6858001"/>
              <a:gd name="connsiteX38" fmla="*/ 8448546 w 9144001"/>
              <a:gd name="connsiteY38" fmla="*/ 6661583 h 6858001"/>
              <a:gd name="connsiteX39" fmla="*/ 8513278 w 9144001"/>
              <a:gd name="connsiteY39" fmla="*/ 6607214 h 6858001"/>
              <a:gd name="connsiteX40" fmla="*/ 8447461 w 9144001"/>
              <a:gd name="connsiteY40" fmla="*/ 6554745 h 6858001"/>
              <a:gd name="connsiteX41" fmla="*/ 8447499 w 9144001"/>
              <a:gd name="connsiteY41" fmla="*/ 6554707 h 6858001"/>
              <a:gd name="connsiteX42" fmla="*/ 8415495 w 9144001"/>
              <a:gd name="connsiteY42" fmla="*/ 6554707 h 6858001"/>
              <a:gd name="connsiteX43" fmla="*/ 8323900 w 9144001"/>
              <a:gd name="connsiteY43" fmla="*/ 6554707 h 6858001"/>
              <a:gd name="connsiteX44" fmla="*/ 8298693 w 9144001"/>
              <a:gd name="connsiteY44" fmla="*/ 6612649 h 6858001"/>
              <a:gd name="connsiteX45" fmla="*/ 8291858 w 9144001"/>
              <a:gd name="connsiteY45" fmla="*/ 6596645 h 6858001"/>
              <a:gd name="connsiteX46" fmla="*/ 8265623 w 9144001"/>
              <a:gd name="connsiteY46" fmla="*/ 6596645 h 6858001"/>
              <a:gd name="connsiteX47" fmla="*/ 8296942 w 9144001"/>
              <a:gd name="connsiteY47" fmla="*/ 6661978 h 6858001"/>
              <a:gd name="connsiteX48" fmla="*/ 8299855 w 9144001"/>
              <a:gd name="connsiteY48" fmla="*/ 6661978 h 6858001"/>
              <a:gd name="connsiteX49" fmla="*/ 8350593 w 9144001"/>
              <a:gd name="connsiteY49" fmla="*/ 6554707 h 6858001"/>
              <a:gd name="connsiteX50" fmla="*/ 8704282 w 9144001"/>
              <a:gd name="connsiteY50" fmla="*/ 6516148 h 6858001"/>
              <a:gd name="connsiteX51" fmla="*/ 8704282 w 9144001"/>
              <a:gd name="connsiteY51" fmla="*/ 6690773 h 6858001"/>
              <a:gd name="connsiteX52" fmla="*/ 8723671 w 9144001"/>
              <a:gd name="connsiteY52" fmla="*/ 6690773 h 6858001"/>
              <a:gd name="connsiteX53" fmla="*/ 8723671 w 9144001"/>
              <a:gd name="connsiteY53" fmla="*/ 6516148 h 6858001"/>
              <a:gd name="connsiteX54" fmla="*/ 0 w 9144001"/>
              <a:gd name="connsiteY54" fmla="*/ 0 h 6858001"/>
              <a:gd name="connsiteX55" fmla="*/ 9144001 w 9144001"/>
              <a:gd name="connsiteY55" fmla="*/ 0 h 6858001"/>
              <a:gd name="connsiteX56" fmla="*/ 9144001 w 9144001"/>
              <a:gd name="connsiteY56" fmla="*/ 6858001 h 6858001"/>
              <a:gd name="connsiteX57" fmla="*/ 0 w 9144001"/>
              <a:gd name="connsiteY57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1" h="6858001">
                <a:moveTo>
                  <a:pt x="8545320" y="6577275"/>
                </a:moveTo>
                <a:lnTo>
                  <a:pt x="8554630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0" y="6608587"/>
                </a:cubicBezTo>
                <a:lnTo>
                  <a:pt x="8552840" y="6608474"/>
                </a:lnTo>
                <a:lnTo>
                  <a:pt x="8545320" y="6608474"/>
                </a:lnTo>
                <a:close/>
                <a:moveTo>
                  <a:pt x="8440531" y="6576165"/>
                </a:moveTo>
                <a:lnTo>
                  <a:pt x="8450869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1" y="6640295"/>
                </a:lnTo>
                <a:close/>
                <a:moveTo>
                  <a:pt x="8359312" y="6554745"/>
                </a:moveTo>
                <a:lnTo>
                  <a:pt x="8357846" y="6557848"/>
                </a:lnTo>
                <a:lnTo>
                  <a:pt x="8338065" y="6599654"/>
                </a:lnTo>
                <a:lnTo>
                  <a:pt x="8338065" y="6661565"/>
                </a:lnTo>
                <a:lnTo>
                  <a:pt x="8406528" y="6661565"/>
                </a:lnTo>
                <a:lnTo>
                  <a:pt x="8406528" y="6638978"/>
                </a:lnTo>
                <a:lnTo>
                  <a:pt x="8363158" y="6638978"/>
                </a:lnTo>
                <a:lnTo>
                  <a:pt x="8363158" y="6618141"/>
                </a:lnTo>
                <a:lnTo>
                  <a:pt x="8402682" y="6618141"/>
                </a:lnTo>
                <a:lnTo>
                  <a:pt x="8402682" y="6596570"/>
                </a:lnTo>
                <a:lnTo>
                  <a:pt x="8363158" y="6596570"/>
                </a:lnTo>
                <a:lnTo>
                  <a:pt x="8363158" y="6577482"/>
                </a:lnTo>
                <a:lnTo>
                  <a:pt x="8406528" y="6577482"/>
                </a:lnTo>
                <a:lnTo>
                  <a:pt x="8406528" y="6554745"/>
                </a:lnTo>
                <a:close/>
                <a:moveTo>
                  <a:pt x="8245575" y="6554726"/>
                </a:moveTo>
                <a:lnTo>
                  <a:pt x="8262082" y="6589123"/>
                </a:lnTo>
                <a:lnTo>
                  <a:pt x="8288526" y="6589123"/>
                </a:lnTo>
                <a:lnTo>
                  <a:pt x="8273962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0" y="6661564"/>
                </a:lnTo>
                <a:lnTo>
                  <a:pt x="8545320" y="6629932"/>
                </a:lnTo>
                <a:lnTo>
                  <a:pt x="8554630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6" y="6554707"/>
                </a:cubicBezTo>
                <a:close/>
                <a:moveTo>
                  <a:pt x="8415495" y="6554707"/>
                </a:moveTo>
                <a:lnTo>
                  <a:pt x="8415495" y="6661470"/>
                </a:lnTo>
                <a:cubicBezTo>
                  <a:pt x="8415495" y="6661470"/>
                  <a:pt x="8435866" y="6661583"/>
                  <a:pt x="8448546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1" y="6554745"/>
                </a:cubicBezTo>
                <a:lnTo>
                  <a:pt x="8447499" y="6554707"/>
                </a:lnTo>
                <a:cubicBezTo>
                  <a:pt x="8436742" y="6554707"/>
                  <a:pt x="8415495" y="6554707"/>
                  <a:pt x="8415495" y="6554707"/>
                </a:cubicBezTo>
                <a:close/>
                <a:moveTo>
                  <a:pt x="8323900" y="6554707"/>
                </a:moveTo>
                <a:lnTo>
                  <a:pt x="8298693" y="6612649"/>
                </a:lnTo>
                <a:lnTo>
                  <a:pt x="8291858" y="6596645"/>
                </a:lnTo>
                <a:lnTo>
                  <a:pt x="8265623" y="6596645"/>
                </a:lnTo>
                <a:lnTo>
                  <a:pt x="8296942" y="6661978"/>
                </a:lnTo>
                <a:lnTo>
                  <a:pt x="8299855" y="6661978"/>
                </a:lnTo>
                <a:lnTo>
                  <a:pt x="8350593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1" y="0"/>
                </a:lnTo>
                <a:lnTo>
                  <a:pt x="9144001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Drag image onto slide to add photo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2C3A686-EFBE-6E4D-8020-4014DF4E8E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7947045" cy="6857999"/>
          </a:xfrm>
          <a:custGeom>
            <a:avLst/>
            <a:gdLst>
              <a:gd name="connsiteX0" fmla="*/ 0 w 5960284"/>
              <a:gd name="connsiteY0" fmla="*/ 0 h 6857999"/>
              <a:gd name="connsiteX1" fmla="*/ 2705820 w 5960284"/>
              <a:gd name="connsiteY1" fmla="*/ 0 h 6857999"/>
              <a:gd name="connsiteX2" fmla="*/ 5960284 w 5960284"/>
              <a:gd name="connsiteY2" fmla="*/ 6857999 h 6857999"/>
              <a:gd name="connsiteX3" fmla="*/ 0 w 5960284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0284" h="6857999">
                <a:moveTo>
                  <a:pt x="0" y="0"/>
                </a:moveTo>
                <a:lnTo>
                  <a:pt x="2705820" y="0"/>
                </a:lnTo>
                <a:lnTo>
                  <a:pt x="5960284" y="6857999"/>
                </a:lnTo>
                <a:lnTo>
                  <a:pt x="0" y="6857999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95000"/>
                </a:schemeClr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wrap="square" lIns="432000" tIns="360000" rIns="1080000" bIns="612000" anchor="b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ection title.</a:t>
            </a:r>
            <a:br>
              <a:rPr lang="en-US" dirty="0"/>
            </a:br>
            <a:r>
              <a:rPr lang="en-US" dirty="0"/>
              <a:t>3 lines max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EF91C03-68D7-6C4C-845D-95A60CCDC888}"/>
              </a:ext>
            </a:extLst>
          </p:cNvPr>
          <p:cNvGrpSpPr/>
          <p:nvPr userDrawn="1"/>
        </p:nvGrpSpPr>
        <p:grpSpPr>
          <a:xfrm>
            <a:off x="-342618" y="4797149"/>
            <a:ext cx="335281" cy="1365066"/>
            <a:chOff x="-256404" y="360363"/>
            <a:chExt cx="251461" cy="6921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D7A67AD-A78D-1040-A099-19C73D75FADD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B4B5A1AF-9A26-A642-816C-7E1E37992AA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ADBBC9F7-B424-1643-B930-EEF94712EBD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E56CBC82-1BDE-F540-BF3F-712FAD884E18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282B5F3-F5C3-DB4C-B743-A8A59CFF7D42}"/>
                </a:ext>
              </a:extLst>
            </p:cNvPr>
            <p:cNvSpPr txBox="1"/>
            <p:nvPr userDrawn="1"/>
          </p:nvSpPr>
          <p:spPr>
            <a:xfrm rot="16200000">
              <a:off x="-192445" y="662666"/>
              <a:ext cx="123545" cy="8079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798FF58-E26B-3647-BDDF-EC266BEA7328}"/>
              </a:ext>
            </a:extLst>
          </p:cNvPr>
          <p:cNvGrpSpPr/>
          <p:nvPr userDrawn="1"/>
        </p:nvGrpSpPr>
        <p:grpSpPr>
          <a:xfrm>
            <a:off x="12532243" y="-1"/>
            <a:ext cx="3832280" cy="6858001"/>
            <a:chOff x="9144000" y="-1"/>
            <a:chExt cx="2874210" cy="6858001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8580BD2-46D4-6B43-BEB1-7D93D1D56918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400" dirty="0"/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9A61082E-FFDB-C440-87DC-6022E4E82893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FD97C5F9-1BA0-4346-8BA5-61CA34B0EB56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23351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1100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FF29B610-1229-CE4A-AF80-53A2FAABF0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179FAF10-6C7D-2144-8C5C-BFA813F68506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08A50BC6-41D4-CB43-B615-0CB5C5D8CB2E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AAF32C62-18B0-5A46-A72E-AB5C72B617B1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3A949284-8769-7C4A-BDA9-47BF5046975F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80" name="Graphic 79">
                  <a:extLst>
                    <a:ext uri="{FF2B5EF4-FFF2-40B4-BE49-F238E27FC236}">
                      <a16:creationId xmlns:a16="http://schemas.microsoft.com/office/drawing/2014/main" id="{8963D7C6-F2C5-E849-BB93-9E88B87AA57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1" name="TextBox 80">
                  <a:extLst>
                    <a:ext uri="{FF2B5EF4-FFF2-40B4-BE49-F238E27FC236}">
                      <a16:creationId xmlns:a16="http://schemas.microsoft.com/office/drawing/2014/main" id="{85DB30AD-2EC9-DB48-BA60-31491FAC1195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82" name="TextBox 81">
                  <a:extLst>
                    <a:ext uri="{FF2B5EF4-FFF2-40B4-BE49-F238E27FC236}">
                      <a16:creationId xmlns:a16="http://schemas.microsoft.com/office/drawing/2014/main" id="{17B40A71-5ED2-4847-B0DF-8C7122BB42A3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83" name="TextBox 82">
                  <a:extLst>
                    <a:ext uri="{FF2B5EF4-FFF2-40B4-BE49-F238E27FC236}">
                      <a16:creationId xmlns:a16="http://schemas.microsoft.com/office/drawing/2014/main" id="{224A2BA9-4F1F-074F-AEA1-D6E43A8250E8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0F4A1271-3D8B-3C49-A3EA-8521CBDB4AF1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C6145E2A-AB77-D243-85C2-139861D4876E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FC6A7522-6011-3549-8AE8-F95DA5F999B9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73" name="Graphic 72">
                  <a:extLst>
                    <a:ext uri="{FF2B5EF4-FFF2-40B4-BE49-F238E27FC236}">
                      <a16:creationId xmlns:a16="http://schemas.microsoft.com/office/drawing/2014/main" id="{0766D4F4-795E-5245-BF49-8D06B73BD8E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4BA13E32-1D69-6744-97E0-5693B3DE481A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75" name="Picture 74">
                  <a:extLst>
                    <a:ext uri="{FF2B5EF4-FFF2-40B4-BE49-F238E27FC236}">
                      <a16:creationId xmlns:a16="http://schemas.microsoft.com/office/drawing/2014/main" id="{62C33A3E-B57A-5249-A736-062C612AFDE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46CE5CB7-4357-AA46-858D-4971B106CB68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42CF36A7-43B8-6C4C-86FD-1CD17D708735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1A6C5B3E-7B6D-A148-861C-6ACAA92D6CA7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35B6B6EB-9B89-1347-8F1C-C198506B65AC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sz="1050" dirty="0"/>
                    <a:t>Select and download images from the Marketing Resource Database.</a:t>
                  </a:r>
                </a:p>
                <a:p>
                  <a:pPr lvl="0"/>
                  <a:r>
                    <a:rPr lang="en-US" sz="1050" dirty="0"/>
                    <a:t>Add the image to the placeholder.</a:t>
                  </a:r>
                </a:p>
              </p:txBody>
            </p:sp>
          </p:grp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86D606E1-D70D-CF4E-8378-6DE1F7A17FDF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1AB01998-6407-F04E-89B6-207E3B4416D9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BF601082-8B9E-E948-93FC-DD6E8E5CABC4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713FBF07-5E2E-9142-A30C-27DB2C07E4EE}"/>
                  </a:ext>
                </a:extLst>
              </p:cNvPr>
              <p:cNvSpPr txBox="1"/>
              <p:nvPr userDrawn="1"/>
            </p:nvSpPr>
            <p:spPr>
              <a:xfrm>
                <a:off x="9419085" y="3095480"/>
                <a:ext cx="2374733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</p:grpSp>
      <p:sp>
        <p:nvSpPr>
          <p:cNvPr id="500" name="Caption">
            <a:extLst>
              <a:ext uri="{FF2B5EF4-FFF2-40B4-BE49-F238E27FC236}">
                <a16:creationId xmlns:a16="http://schemas.microsoft.com/office/drawing/2014/main" id="{FBAAECF8-548A-DF48-864C-7FFAC7CE7E0F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7947046" y="5912275"/>
            <a:ext cx="3657167" cy="440850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E27FEE-18EA-A346-B26F-D333D09B92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4E954B-AA54-CB4A-BB91-65FA994324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BB10A8-70DC-DE4D-92FA-36863B35AB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12700"/>
            <a:fld id="{078C017C-E1B9-8443-B047-B08AAA027B45}" type="slidenum">
              <a:rPr lang="en-US" smtClean="0"/>
              <a:pPr marL="12700"/>
              <a:t>‹#›</a:t>
            </a:fld>
            <a:endParaRPr lang="en-US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F6510D4-5C14-4C49-9E12-FE70AD2BF8B5}"/>
              </a:ext>
            </a:extLst>
          </p:cNvPr>
          <p:cNvGrpSpPr/>
          <p:nvPr userDrawn="1"/>
        </p:nvGrpSpPr>
        <p:grpSpPr>
          <a:xfrm>
            <a:off x="574987" y="-246933"/>
            <a:ext cx="11040535" cy="7347304"/>
            <a:chOff x="431240" y="-246933"/>
            <a:chExt cx="8280401" cy="7347304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065C18E-D64F-7245-813C-B6B447EDB421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395E244-87CF-F140-BD60-3FFD9A25D3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B59353F5-2397-5A4B-9D6C-2A5B3826216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6A29AC13-8431-6247-9605-4DE6AC19757E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91174909-64CA-EF47-A0A7-204423290ECC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54" name="Straight Connector 53">
                  <a:extLst>
                    <a:ext uri="{FF2B5EF4-FFF2-40B4-BE49-F238E27FC236}">
                      <a16:creationId xmlns:a16="http://schemas.microsoft.com/office/drawing/2014/main" id="{34D91FED-26CC-F144-8BF9-DB64124B41B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id="{97B6B19F-FF08-ED4B-9CCD-CAFF7BF049B6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1D02FAC6-DC5B-A746-8EF4-D6DB84FFA3D9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</p:grp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20F36343-BBC2-4349-A0F2-4B2E7BBD79F8}"/>
                  </a:ext>
                </a:extLst>
              </p:cNvPr>
              <p:cNvSpPr txBox="1"/>
              <p:nvPr userDrawn="1"/>
            </p:nvSpPr>
            <p:spPr>
              <a:xfrm>
                <a:off x="3914336" y="-176700"/>
                <a:ext cx="1315339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BCE10A83-4DF9-CA4C-8F3D-16220DA1460D}"/>
                  </a:ext>
                </a:extLst>
              </p:cNvPr>
              <p:cNvCxnSpPr>
                <a:cxnSpLocks/>
                <a:stCxn id="51" idx="1"/>
                <a:endCxn id="86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Arrow Connector 52">
                <a:extLst>
                  <a:ext uri="{FF2B5EF4-FFF2-40B4-BE49-F238E27FC236}">
                    <a16:creationId xmlns:a16="http://schemas.microsoft.com/office/drawing/2014/main" id="{0A539B45-3509-C647-A3C5-4AB4B3F91D32}"/>
                  </a:ext>
                </a:extLst>
              </p:cNvPr>
              <p:cNvCxnSpPr>
                <a:cxnSpLocks/>
                <a:stCxn id="51" idx="3"/>
                <a:endCxn id="86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5144608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D7070C02-8D3D-AA4B-B6D3-432E3D380E3C}"/>
              </a:ext>
            </a:extLst>
          </p:cNvPr>
          <p:cNvSpPr>
            <a:spLocks noGrp="1"/>
          </p:cNvSpPr>
          <p:nvPr>
            <p:ph sz="quarter" idx="200" hasCustomPrompt="1"/>
          </p:nvPr>
        </p:nvSpPr>
        <p:spPr>
          <a:xfrm>
            <a:off x="575734" y="1233489"/>
            <a:ext cx="11040533" cy="4932362"/>
          </a:xfrm>
        </p:spPr>
        <p:txBody>
          <a:bodyPr/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add text, or use the icon to add a table</a:t>
            </a:r>
          </a:p>
          <a:p>
            <a:pPr lvl="1"/>
            <a:r>
              <a:rPr lang="en-US" dirty="0"/>
              <a:t>Body text (second level)</a:t>
            </a:r>
          </a:p>
          <a:p>
            <a:pPr lvl="2"/>
            <a:r>
              <a:rPr lang="en-US" dirty="0"/>
              <a:t>Square bullet (third level)</a:t>
            </a:r>
          </a:p>
          <a:p>
            <a:pPr lvl="3"/>
            <a:r>
              <a:rPr lang="en-US" dirty="0"/>
              <a:t>Dashed bullet (fourth level)</a:t>
            </a:r>
          </a:p>
          <a:p>
            <a:pPr lvl="4"/>
            <a:r>
              <a:rPr lang="en-US" dirty="0"/>
              <a:t>Dashed bullet (fifth level)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73A7EDA7-F3CC-FE4B-8FF2-546BF052CA2D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575733" y="6200775"/>
            <a:ext cx="9920817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32" name="Date Placeholder 31">
            <a:extLst>
              <a:ext uri="{FF2B5EF4-FFF2-40B4-BE49-F238E27FC236}">
                <a16:creationId xmlns:a16="http://schemas.microsoft.com/office/drawing/2014/main" id="{063A222F-451A-4B49-AAE6-41BBAA48AC75}"/>
              </a:ext>
            </a:extLst>
          </p:cNvPr>
          <p:cNvSpPr>
            <a:spLocks noGrp="1"/>
          </p:cNvSpPr>
          <p:nvPr userDrawn="1">
            <p:ph type="dt" sz="half" idx="10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7182972C-B32C-5242-9660-1F857E08362B}"/>
              </a:ext>
            </a:extLst>
          </p:cNvPr>
          <p:cNvSpPr>
            <a:spLocks noGrp="1"/>
          </p:cNvSpPr>
          <p:nvPr userDrawn="1">
            <p:ph type="ftr" sz="quarter" idx="10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702F905D-B5C6-604B-A8D6-931CBE08DB32}"/>
              </a:ext>
            </a:extLst>
          </p:cNvPr>
          <p:cNvSpPr>
            <a:spLocks noGrp="1"/>
          </p:cNvSpPr>
          <p:nvPr userDrawn="1">
            <p:ph type="sldNum" sz="quarter" idx="107"/>
          </p:nvPr>
        </p:nvSpPr>
        <p:spPr/>
        <p:txBody>
          <a:bodyPr/>
          <a:lstStyle/>
          <a:p>
            <a:pPr marL="12700"/>
            <a:fld id="{078C017C-E1B9-8443-B047-B08AAA027B45}" type="slidenum">
              <a:rPr lang="en-US" smtClean="0"/>
              <a:pPr marL="12700"/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377C8CE-D482-6D47-A000-443568B2C375}"/>
              </a:ext>
            </a:extLst>
          </p:cNvPr>
          <p:cNvGrpSpPr/>
          <p:nvPr userDrawn="1"/>
        </p:nvGrpSpPr>
        <p:grpSpPr>
          <a:xfrm>
            <a:off x="12532243" y="1"/>
            <a:ext cx="3965960" cy="6857995"/>
            <a:chOff x="9399182" y="0"/>
            <a:chExt cx="2974470" cy="685799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624552C-B575-AE4E-B90E-80386DFFD747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68579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400" dirty="0"/>
            </a:p>
          </p:txBody>
        </p:sp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72577E3C-2575-9A49-8EA5-9CA05A2E3D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E2D26DA-696F-D345-B831-DB4BCF3B6E31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5C3AAD8B-698C-7A43-ABDF-294888239CF2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2D824FCF-53BC-444C-88D6-38033E97AEDF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B83CA71E-B1B7-6946-92A5-BFD00A4291E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DFE6C8C-E609-C848-9C4A-7DCBDF10FCCB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5459E50A-7290-8345-AB63-DF07B151FCBA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1677143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sz="1100" dirty="0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877E185E-D403-494F-AEBA-AEAB2A57C11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2707A63D-0ED3-2649-8C74-DDC556FCF5A9}"/>
                </a:ext>
              </a:extLst>
            </p:cNvPr>
            <p:cNvGrpSpPr/>
            <p:nvPr userDrawn="1"/>
          </p:nvGrpSpPr>
          <p:grpSpPr>
            <a:xfrm>
              <a:off x="9554253" y="3678850"/>
              <a:ext cx="2735151" cy="2655095"/>
              <a:chOff x="9541497" y="2555080"/>
              <a:chExt cx="2735151" cy="2655095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97646D57-86DD-CC45-AF75-033441DEAEBB}"/>
                  </a:ext>
                </a:extLst>
              </p:cNvPr>
              <p:cNvGrpSpPr/>
              <p:nvPr userDrawn="1"/>
            </p:nvGrpSpPr>
            <p:grpSpPr>
              <a:xfrm>
                <a:off x="9541497" y="2555080"/>
                <a:ext cx="2735151" cy="2655095"/>
                <a:chOff x="9296567" y="4910411"/>
                <a:chExt cx="2735151" cy="2655095"/>
              </a:xfrm>
            </p:grpSpPr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88B63AE3-654D-E346-84F1-DE1585D68864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265509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73FF8F45-C686-3D4E-9541-1D8727406BA0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Automatic paragraph spacing</a:t>
                  </a:r>
                </a:p>
              </p:txBody>
            </p:sp>
            <p:pic>
              <p:nvPicPr>
                <p:cNvPr id="24" name="Graphic 23">
                  <a:extLst>
                    <a:ext uri="{FF2B5EF4-FFF2-40B4-BE49-F238E27FC236}">
                      <a16:creationId xmlns:a16="http://schemas.microsoft.com/office/drawing/2014/main" id="{CB005880-BCA3-A74D-BFE6-ECE18F5208A0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6D7CFF09-C588-D946-9376-69CEAE13234B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5300350"/>
                  <a:ext cx="2271204" cy="5539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sz="900" dirty="0"/>
                    <a:t>This template automatically adds paragraph spacing between first-level text paragraphs. When pasting in content, remember to delete any extra blank lines from your text.</a:t>
                  </a:r>
                </a:p>
              </p:txBody>
            </p:sp>
          </p:grp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942737E0-D794-DF4D-B7C0-6CAEC1A43DF9}"/>
                  </a:ext>
                </a:extLst>
              </p:cNvPr>
              <p:cNvGrpSpPr/>
              <p:nvPr userDrawn="1"/>
            </p:nvGrpSpPr>
            <p:grpSpPr>
              <a:xfrm>
                <a:off x="9832250" y="3569700"/>
                <a:ext cx="2074000" cy="1627918"/>
                <a:chOff x="9832250" y="3617325"/>
                <a:chExt cx="2074000" cy="1627918"/>
              </a:xfrm>
            </p:grpSpPr>
            <p:pic>
              <p:nvPicPr>
                <p:cNvPr id="42" name="Picture 41">
                  <a:extLst>
                    <a:ext uri="{FF2B5EF4-FFF2-40B4-BE49-F238E27FC236}">
                      <a16:creationId xmlns:a16="http://schemas.microsoft.com/office/drawing/2014/main" id="{06E7651E-8190-B943-9721-400134189D6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075660" y="3617325"/>
                  <a:ext cx="1830590" cy="1627918"/>
                </a:xfrm>
                <a:prstGeom prst="rect">
                  <a:avLst/>
                </a:prstGeom>
              </p:spPr>
            </p:pic>
            <p:cxnSp>
              <p:nvCxnSpPr>
                <p:cNvPr id="44" name="Straight Connector 43">
                  <a:extLst>
                    <a:ext uri="{FF2B5EF4-FFF2-40B4-BE49-F238E27FC236}">
                      <a16:creationId xmlns:a16="http://schemas.microsoft.com/office/drawing/2014/main" id="{6A6779F1-2A60-A14F-9868-14C42F8A7876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3825943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Straight Connector 45">
                  <a:extLst>
                    <a:ext uri="{FF2B5EF4-FFF2-40B4-BE49-F238E27FC236}">
                      <a16:creationId xmlns:a16="http://schemas.microsoft.com/office/drawing/2014/main" id="{04D2FEFE-94D7-2F4D-B902-718C10873F5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4714218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BFD489AF-FA3E-5644-86FC-3A5B05E7B94F}"/>
                    </a:ext>
                  </a:extLst>
                </p:cNvPr>
                <p:cNvSpPr txBox="1"/>
                <p:nvPr userDrawn="1"/>
              </p:nvSpPr>
              <p:spPr>
                <a:xfrm>
                  <a:off x="9832250" y="3828243"/>
                  <a:ext cx="257282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  <p:sp>
              <p:nvSpPr>
                <p:cNvPr id="48" name="TextBox 47">
                  <a:extLst>
                    <a:ext uri="{FF2B5EF4-FFF2-40B4-BE49-F238E27FC236}">
                      <a16:creationId xmlns:a16="http://schemas.microsoft.com/office/drawing/2014/main" id="{B0708852-B6D4-5043-86A8-0181B47AF502}"/>
                    </a:ext>
                  </a:extLst>
                </p:cNvPr>
                <p:cNvSpPr txBox="1"/>
                <p:nvPr userDrawn="1"/>
              </p:nvSpPr>
              <p:spPr>
                <a:xfrm>
                  <a:off x="9832250" y="4721742"/>
                  <a:ext cx="257282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</p:grp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90F7566-5DFC-224D-B550-F17C772A4956}"/>
                </a:ext>
              </a:extLst>
            </p:cNvPr>
            <p:cNvGrpSpPr/>
            <p:nvPr userDrawn="1"/>
          </p:nvGrpSpPr>
          <p:grpSpPr>
            <a:xfrm>
              <a:off x="9558506" y="2409506"/>
              <a:ext cx="2639327" cy="684608"/>
              <a:chOff x="9558506" y="2476806"/>
              <a:chExt cx="2639327" cy="684608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740B4C7C-60B8-0147-B275-9FA9F934BCF0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441172" y="2476806"/>
                <a:ext cx="1756661" cy="684608"/>
              </a:xfrm>
              <a:prstGeom prst="rect">
                <a:avLst/>
              </a:prstGeom>
            </p:spPr>
          </p:pic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F0185F31-1C0F-C84F-82F7-CDE92D5E8462}"/>
                  </a:ext>
                </a:extLst>
              </p:cNvPr>
              <p:cNvSpPr/>
              <p:nvPr userDrawn="1"/>
            </p:nvSpPr>
            <p:spPr>
              <a:xfrm>
                <a:off x="9558506" y="2476806"/>
                <a:ext cx="882666" cy="684608"/>
              </a:xfrm>
              <a:prstGeom prst="rect">
                <a:avLst/>
              </a:prstGeom>
              <a:solidFill>
                <a:schemeClr val="bg2">
                  <a:alpha val="1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D7D6324-A232-CF4B-A35D-7883E63DC01B}"/>
                  </a:ext>
                </a:extLst>
              </p:cNvPr>
              <p:cNvSpPr txBox="1"/>
              <p:nvPr userDrawn="1"/>
            </p:nvSpPr>
            <p:spPr>
              <a:xfrm>
                <a:off x="9635558" y="2549805"/>
                <a:ext cx="676269" cy="43088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Note: </a:t>
                </a:r>
                <a:b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</a:br>
                <a: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For numbered lists, see the most up-to-date Asset File.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0DACB142-1234-41D1-A255-A168CB3FBFEC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68589F60-2D66-4B46-AE58-9B3DF45E0D04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35" name="Group 34">
                  <a:extLst>
                    <a:ext uri="{FF2B5EF4-FFF2-40B4-BE49-F238E27FC236}">
                      <a16:creationId xmlns:a16="http://schemas.microsoft.com/office/drawing/2014/main" id="{2FD0186C-A219-4155-8D46-C05A3751B2ED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37" name="Rectangle 36">
                    <a:extLst>
                      <a:ext uri="{FF2B5EF4-FFF2-40B4-BE49-F238E27FC236}">
                        <a16:creationId xmlns:a16="http://schemas.microsoft.com/office/drawing/2014/main" id="{5F54F593-ABB9-4B7D-9C12-B4429591BE5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400" dirty="0"/>
                  </a:p>
                </p:txBody>
              </p:sp>
              <p:sp>
                <p:nvSpPr>
                  <p:cNvPr id="38" name="TextBox 37">
                    <a:extLst>
                      <a:ext uri="{FF2B5EF4-FFF2-40B4-BE49-F238E27FC236}">
                        <a16:creationId xmlns:a16="http://schemas.microsoft.com/office/drawing/2014/main" id="{A62EE7AD-C4E7-4E65-AECC-33E75355E5A7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40" name="TextBox 39">
                    <a:extLst>
                      <a:ext uri="{FF2B5EF4-FFF2-40B4-BE49-F238E27FC236}">
                        <a16:creationId xmlns:a16="http://schemas.microsoft.com/office/drawing/2014/main" id="{93DB76AE-3F4F-4A19-B966-91F70FF0FAD9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55399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36" name="Graphic 35">
                  <a:extLst>
                    <a:ext uri="{FF2B5EF4-FFF2-40B4-BE49-F238E27FC236}">
                      <a16:creationId xmlns:a16="http://schemas.microsoft.com/office/drawing/2014/main" id="{32568DFB-2F01-47B2-BE59-F2DE9D0149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screen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=""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29414905-E52D-4947-8B5C-2CE4F2F3689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11481791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(Headsho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A733D6C8-2947-664C-94C0-9AD79C24D8BC}"/>
              </a:ext>
            </a:extLst>
          </p:cNvPr>
          <p:cNvSpPr/>
          <p:nvPr userDrawn="1"/>
        </p:nvSpPr>
        <p:spPr>
          <a:xfrm flipH="1">
            <a:off x="-1" y="2402809"/>
            <a:ext cx="12192000" cy="3294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400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B98A494-7A59-1347-AC1A-9CEFC6F3BA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74629" y="2402809"/>
            <a:ext cx="5717371" cy="3294098"/>
          </a:xfrm>
          <a:custGeom>
            <a:avLst/>
            <a:gdLst>
              <a:gd name="connsiteX0" fmla="*/ 0 w 4288028"/>
              <a:gd name="connsiteY0" fmla="*/ 0 h 3294098"/>
              <a:gd name="connsiteX1" fmla="*/ 4288028 w 4288028"/>
              <a:gd name="connsiteY1" fmla="*/ 0 h 3294098"/>
              <a:gd name="connsiteX2" fmla="*/ 4288028 w 4288028"/>
              <a:gd name="connsiteY2" fmla="*/ 3294098 h 3294098"/>
              <a:gd name="connsiteX3" fmla="*/ 1563214 w 4288028"/>
              <a:gd name="connsiteY3" fmla="*/ 3294098 h 329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8028" h="3294098">
                <a:moveTo>
                  <a:pt x="0" y="0"/>
                </a:moveTo>
                <a:lnTo>
                  <a:pt x="4288028" y="0"/>
                </a:lnTo>
                <a:lnTo>
                  <a:pt x="4288028" y="3294098"/>
                </a:lnTo>
                <a:lnTo>
                  <a:pt x="1563214" y="329409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marL="0" indent="0" algn="r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 or headsho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734" y="1219067"/>
            <a:ext cx="11040533" cy="91440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hank-you mess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733" y="2714222"/>
            <a:ext cx="5520267" cy="267127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20638" indent="0">
              <a:spcAft>
                <a:spcPts val="300"/>
              </a:spcAft>
              <a:buFont typeface="Arial" panose="020B0604020202020204" pitchFamily="34" charset="0"/>
              <a:buNone/>
              <a:tabLst/>
              <a:defRPr sz="1400" b="1">
                <a:solidFill>
                  <a:schemeClr val="bg1"/>
                </a:solidFill>
              </a:defRPr>
            </a:lvl1pPr>
            <a:lvl2pPr marL="20638" indent="0">
              <a:spcAft>
                <a:spcPts val="200"/>
              </a:spcAft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2pPr>
            <a:lvl3pPr marL="20638" indent="0">
              <a:spcAft>
                <a:spcPts val="200"/>
              </a:spcAft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3pPr>
            <a:lvl4pPr marL="20638" indent="0">
              <a:spcAft>
                <a:spcPts val="200"/>
              </a:spcAft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4pPr>
            <a:lvl5pPr marL="20638" indent="0">
              <a:spcAft>
                <a:spcPts val="200"/>
              </a:spcAft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5pPr>
            <a:lvl6pPr marL="20638" indent="0">
              <a:buNone/>
              <a:tabLst/>
              <a:defRPr>
                <a:solidFill>
                  <a:schemeClr val="bg1"/>
                </a:solidFill>
              </a:defRPr>
            </a:lvl6pPr>
            <a:lvl7pPr marL="20638" indent="0">
              <a:buNone/>
              <a:tabLst/>
              <a:defRPr>
                <a:solidFill>
                  <a:schemeClr val="bg1"/>
                </a:solidFill>
              </a:defRPr>
            </a:lvl7pPr>
            <a:lvl8pPr marL="20638" indent="0">
              <a:buNone/>
              <a:tabLst/>
              <a:defRPr>
                <a:solidFill>
                  <a:schemeClr val="bg1"/>
                </a:solidFill>
              </a:defRPr>
            </a:lvl8pPr>
            <a:lvl9pPr marL="20638" indent="0">
              <a:buNone/>
              <a:tabLst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6029562"/>
            <a:ext cx="9041763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400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B32357E-8001-BB4B-B6BD-AEA8426DDE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65464" y="5966248"/>
            <a:ext cx="2868545" cy="555202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8154AF59-E4FF-3346-B926-57EDAB1FE062}"/>
              </a:ext>
            </a:extLst>
          </p:cNvPr>
          <p:cNvGrpSpPr/>
          <p:nvPr userDrawn="1"/>
        </p:nvGrpSpPr>
        <p:grpSpPr>
          <a:xfrm>
            <a:off x="-342618" y="1261817"/>
            <a:ext cx="335281" cy="787628"/>
            <a:chOff x="-256404" y="360363"/>
            <a:chExt cx="251461" cy="692152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36AB50BF-4718-484C-B6EA-0C330459021B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A30C18D2-1D99-164F-A515-FE124A48FC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E10DDE84-4C05-1A4A-A2D8-AAE8FB3D34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0FEB97B8-81FD-4541-B92C-ADB8AD94CD4E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D9FF21D-3A71-2548-A8D3-8888EABDC88B}"/>
                </a:ext>
              </a:extLst>
            </p:cNvPr>
            <p:cNvSpPr txBox="1"/>
            <p:nvPr userDrawn="1"/>
          </p:nvSpPr>
          <p:spPr>
            <a:xfrm rot="16200000">
              <a:off x="-359580" y="622270"/>
              <a:ext cx="457823" cy="161583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5D3DB86-D979-BC43-82F9-D7DB16BFB915}"/>
              </a:ext>
            </a:extLst>
          </p:cNvPr>
          <p:cNvGrpSpPr/>
          <p:nvPr userDrawn="1"/>
        </p:nvGrpSpPr>
        <p:grpSpPr>
          <a:xfrm>
            <a:off x="-342618" y="3367324"/>
            <a:ext cx="335281" cy="1365066"/>
            <a:chOff x="-256404" y="360363"/>
            <a:chExt cx="251461" cy="692152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BBE9AB7B-CC36-1C48-8850-B428D53FD54E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383BC659-DE1A-AD46-BABB-4216D5152A6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16C4EDB7-BE73-C648-8454-EDBF3A3BCEC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98F7CC41-3485-F345-AD6D-DA420283A295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8CDD96D5-24AE-C84E-9626-2669E4455CE7}"/>
                </a:ext>
              </a:extLst>
            </p:cNvPr>
            <p:cNvSpPr txBox="1"/>
            <p:nvPr userDrawn="1"/>
          </p:nvSpPr>
          <p:spPr>
            <a:xfrm rot="16200000">
              <a:off x="-300948" y="662666"/>
              <a:ext cx="340562" cy="8079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3E31308-5073-4344-9CE0-58B65E2EFAD8}"/>
              </a:ext>
            </a:extLst>
          </p:cNvPr>
          <p:cNvGrpSpPr/>
          <p:nvPr userDrawn="1"/>
        </p:nvGrpSpPr>
        <p:grpSpPr>
          <a:xfrm>
            <a:off x="12532244" y="-1"/>
            <a:ext cx="3948953" cy="9888233"/>
            <a:chOff x="9399182" y="-1"/>
            <a:chExt cx="2961715" cy="9888233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E76269E-8C78-D343-B169-EBF41DC6C7A1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974868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400" dirty="0"/>
            </a:p>
          </p:txBody>
        </p:sp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F246FA3C-064F-9848-8568-CFCFAD40560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58506" y="1323797"/>
              <a:ext cx="2632538" cy="532435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671C85D-BA5D-4D49-929C-B172CAD4A8DC}"/>
                </a:ext>
              </a:extLst>
            </p:cNvPr>
            <p:cNvSpPr txBox="1"/>
            <p:nvPr userDrawn="1"/>
          </p:nvSpPr>
          <p:spPr>
            <a:xfrm>
              <a:off x="9558507" y="3874407"/>
              <a:ext cx="1233511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1100" dirty="0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6343EF-AD02-7847-99E6-3F12C4DE8DD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077024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89BD887-3769-7E4A-84E6-A89C01DFBF0B}"/>
                </a:ext>
              </a:extLst>
            </p:cNvPr>
            <p:cNvSpPr txBox="1"/>
            <p:nvPr userDrawn="1"/>
          </p:nvSpPr>
          <p:spPr>
            <a:xfrm>
              <a:off x="9686426" y="4935334"/>
              <a:ext cx="2297338" cy="27622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b="1" dirty="0"/>
                <a:t>Method 1:</a:t>
              </a:r>
              <a:r>
                <a:rPr lang="en-US" sz="600" b="0" dirty="0"/>
                <a:t>from file browser</a:t>
              </a:r>
            </a:p>
            <a:p>
              <a:pPr lvl="1">
                <a:buNone/>
              </a:pPr>
              <a:r>
                <a:rPr lang="en-US" sz="1050" dirty="0"/>
                <a:t>Drag the image onto the slide.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3BB7DFA5-86A8-2241-81D4-51CD6B2BCFFE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9FA83002-5E66-5C4C-9655-0BA18B87C2B0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5E1F513F-7453-184B-BF9C-0FE3D213F374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70" name="Picture 69">
                <a:extLst>
                  <a:ext uri="{FF2B5EF4-FFF2-40B4-BE49-F238E27FC236}">
                    <a16:creationId xmlns:a16="http://schemas.microsoft.com/office/drawing/2014/main" id="{DA1384A2-99EA-8F47-831A-0F69FD1BD1E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36DB6E4-613B-B043-BEEC-D9B02A473D15}"/>
                </a:ext>
              </a:extLst>
            </p:cNvPr>
            <p:cNvGrpSpPr/>
            <p:nvPr userDrawn="1"/>
          </p:nvGrpSpPr>
          <p:grpSpPr>
            <a:xfrm>
              <a:off x="9541497" y="8476917"/>
              <a:ext cx="2735151" cy="1411315"/>
              <a:chOff x="9296567" y="4910411"/>
              <a:chExt cx="2735151" cy="1411315"/>
            </a:xfrm>
          </p:grpSpPr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B4B99D08-66F1-204B-AE0E-AE40EE746E64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D89DB38A-645F-144A-95C6-B29245BB782C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64" name="Graphic 63">
                <a:extLst>
                  <a:ext uri="{FF2B5EF4-FFF2-40B4-BE49-F238E27FC236}">
                    <a16:creationId xmlns:a16="http://schemas.microsoft.com/office/drawing/2014/main" id="{5844EBB1-69EC-374A-973E-FDB923CB63D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2A7D2CE2-0888-254D-8182-E8B9B984C27C}"/>
                  </a:ext>
                </a:extLst>
              </p:cNvPr>
              <p:cNvSpPr txBox="1"/>
              <p:nvPr userDrawn="1"/>
            </p:nvSpPr>
            <p:spPr>
              <a:xfrm>
                <a:off x="9471805" y="5619194"/>
                <a:ext cx="2422981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34938" lvl="1" indent="-131763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4BEAE704-A4F2-8846-BBA0-A78F408CC4F6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E827C2E6-4B03-3E40-A5C3-2897F09BF8B9}"/>
                  </a:ext>
                </a:extLst>
              </p:cNvPr>
              <p:cNvSpPr txBox="1"/>
              <p:nvPr userDrawn="1"/>
            </p:nvSpPr>
            <p:spPr>
              <a:xfrm>
                <a:off x="9471805" y="6068871"/>
                <a:ext cx="2422981" cy="1384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5BD4996-1151-B14E-92B4-B6EB0B20C0D1}"/>
                </a:ext>
              </a:extLst>
            </p:cNvPr>
            <p:cNvGrpSpPr/>
            <p:nvPr userDrawn="1"/>
          </p:nvGrpSpPr>
          <p:grpSpPr>
            <a:xfrm>
              <a:off x="9541497" y="7120261"/>
              <a:ext cx="2735151" cy="1280928"/>
              <a:chOff x="9286315" y="6976989"/>
              <a:chExt cx="2735151" cy="1280928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00FE895-1720-AB4B-9E0F-91C2C382303D}"/>
                  </a:ext>
                </a:extLst>
              </p:cNvPr>
              <p:cNvSpPr/>
              <p:nvPr userDrawn="1"/>
            </p:nvSpPr>
            <p:spPr>
              <a:xfrm>
                <a:off x="9286315" y="6976989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1B155C23-A6FC-4149-BF55-6313E95865F9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45" name="Graphic 44">
                <a:extLst>
                  <a:ext uri="{FF2B5EF4-FFF2-40B4-BE49-F238E27FC236}">
                    <a16:creationId xmlns:a16="http://schemas.microsoft.com/office/drawing/2014/main" id="{D666C49D-563C-9144-B854-B5D8FFA16E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3CBE64FA-7748-1349-89EC-902B4A25BD00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384904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EBED6E0D-C534-0B4E-9ADA-CEEA5779E7B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243541" y="7454405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ADEF5FC-92F8-0E47-9385-A4F9D9B30AF8}"/>
                </a:ext>
              </a:extLst>
            </p:cNvPr>
            <p:cNvGrpSpPr/>
            <p:nvPr userDrawn="1"/>
          </p:nvGrpSpPr>
          <p:grpSpPr>
            <a:xfrm>
              <a:off x="9521833" y="4199527"/>
              <a:ext cx="2617883" cy="651460"/>
              <a:chOff x="12352022" y="513115"/>
              <a:chExt cx="2617883" cy="651460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67B0499E-8D11-9D4A-A286-DEBDE9610976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D0D2B337-235A-7742-931F-C88DF26DF943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10336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C57FC906-94A4-9340-B80B-5A4321C7FD97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65146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1050" dirty="0"/>
                  <a:t>Select and download images from the Marketing Resource Database.</a:t>
                </a:r>
              </a:p>
              <a:p>
                <a:pPr lvl="0"/>
                <a:r>
                  <a:rPr lang="en-US" sz="1050" dirty="0"/>
                  <a:t>Add the image to the placeholder.</a:t>
                </a:r>
              </a:p>
            </p:txBody>
          </p: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3DD3CB3-E4D8-D945-AB52-C6152FB5CEEE}"/>
                </a:ext>
              </a:extLst>
            </p:cNvPr>
            <p:cNvSpPr txBox="1"/>
            <p:nvPr userDrawn="1"/>
          </p:nvSpPr>
          <p:spPr>
            <a:xfrm>
              <a:off x="9674267" y="5218639"/>
              <a:ext cx="2374733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2294DF0-4D25-5543-B7E9-64BC32586F13}"/>
                </a:ext>
              </a:extLst>
            </p:cNvPr>
            <p:cNvSpPr txBox="1"/>
            <p:nvPr userDrawn="1"/>
          </p:nvSpPr>
          <p:spPr>
            <a:xfrm>
              <a:off x="9686426" y="5633896"/>
              <a:ext cx="2297338" cy="6055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2:</a:t>
              </a:r>
              <a:r>
                <a:rPr lang="en-US" sz="600" b="0" dirty="0"/>
                <a:t>Paste from clipboard</a:t>
              </a:r>
            </a:p>
            <a:p>
              <a:pPr lvl="1">
                <a:buNone/>
              </a:pPr>
              <a:r>
                <a:rPr lang="en-US" sz="1050" dirty="0"/>
                <a:t>Select the image placeholder.</a:t>
              </a:r>
            </a:p>
            <a:p>
              <a:pPr lvl="1">
                <a:buNone/>
              </a:pPr>
              <a:r>
                <a:rPr lang="en-US" sz="1050" dirty="0"/>
                <a:t>Right-click or use keyboard shortcuts to paste the image.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7593A18-4AA6-1740-8742-F41540517E1F}"/>
                </a:ext>
              </a:extLst>
            </p:cNvPr>
            <p:cNvSpPr txBox="1"/>
            <p:nvPr userDrawn="1"/>
          </p:nvSpPr>
          <p:spPr>
            <a:xfrm>
              <a:off x="9686426" y="6353986"/>
              <a:ext cx="2297338" cy="42165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3:</a:t>
              </a:r>
              <a:r>
                <a:rPr lang="en-US" sz="600" b="0" dirty="0"/>
                <a:t>Placeholder icon</a:t>
              </a:r>
            </a:p>
            <a:p>
              <a:pPr lvl="1">
                <a:buNone/>
              </a:pPr>
              <a:r>
                <a:rPr lang="en-US" sz="1050" dirty="0"/>
                <a:t>Click the image icon inside the placeholder to browse for an image.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56F856D-C4D3-334A-B1FE-BDBA5CA3B0E1}"/>
                </a:ext>
              </a:extLst>
            </p:cNvPr>
            <p:cNvSpPr txBox="1"/>
            <p:nvPr userDrawn="1"/>
          </p:nvSpPr>
          <p:spPr>
            <a:xfrm>
              <a:off x="9674267" y="6784549"/>
              <a:ext cx="2374733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This icon may be covered by another element.</a:t>
              </a:r>
              <a:br>
                <a:rPr lang="en-US" sz="700" dirty="0"/>
              </a:br>
              <a:r>
                <a:rPr lang="en-US" sz="700" dirty="0"/>
                <a:t>In this case use one of the other methods.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AB0AAF54-7965-B142-B874-EE47EADD6C0A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1677143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sz="1100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9DED1D72-DEB5-E94A-A957-290E83552A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B557C09-E337-D24A-941E-6A7414CBA1D8}"/>
                </a:ext>
              </a:extLst>
            </p:cNvPr>
            <p:cNvGrpSpPr/>
            <p:nvPr userDrawn="1"/>
          </p:nvGrpSpPr>
          <p:grpSpPr>
            <a:xfrm>
              <a:off x="9541497" y="1993090"/>
              <a:ext cx="2735151" cy="1739504"/>
              <a:chOff x="9541497" y="2125825"/>
              <a:chExt cx="2735151" cy="1739504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3EFFB818-B95A-9A4F-AA82-9F4D5FF20275}"/>
                  </a:ext>
                </a:extLst>
              </p:cNvPr>
              <p:cNvSpPr/>
              <p:nvPr userDrawn="1"/>
            </p:nvSpPr>
            <p:spPr>
              <a:xfrm>
                <a:off x="9541497" y="2125825"/>
                <a:ext cx="2735151" cy="173950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DEC5F26B-4D18-5442-B88B-C1A3C02042FF}"/>
                  </a:ext>
                </a:extLst>
              </p:cNvPr>
              <p:cNvSpPr txBox="1"/>
              <p:nvPr userDrawn="1"/>
            </p:nvSpPr>
            <p:spPr>
              <a:xfrm>
                <a:off x="9907688" y="2254624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Undo Hyperlink</a:t>
                </a:r>
              </a:p>
            </p:txBody>
          </p:sp>
          <p:pic>
            <p:nvPicPr>
              <p:cNvPr id="74" name="Graphic 73">
                <a:extLst>
                  <a:ext uri="{FF2B5EF4-FFF2-40B4-BE49-F238E27FC236}">
                    <a16:creationId xmlns:a16="http://schemas.microsoft.com/office/drawing/2014/main" id="{474F1871-E7AA-694F-A055-112CE85079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701720" y="2264907"/>
                <a:ext cx="155227" cy="155227"/>
              </a:xfrm>
              <a:prstGeom prst="rect">
                <a:avLst/>
              </a:prstGeom>
            </p:spPr>
          </p:pic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E5FA5F2C-CB33-3742-94F7-FCC2AF53A1E3}"/>
                  </a:ext>
                </a:extLst>
              </p:cNvPr>
              <p:cNvSpPr txBox="1"/>
              <p:nvPr userDrawn="1"/>
            </p:nvSpPr>
            <p:spPr>
              <a:xfrm>
                <a:off x="9701720" y="2880063"/>
                <a:ext cx="2384904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s soon as the hyperlink formatting appears, Undo once to remove the format.</a:t>
                </a:r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2E1A285B-D1A8-7542-B57C-1FB7F1DE582E}"/>
                  </a:ext>
                </a:extLst>
              </p:cNvPr>
              <p:cNvSpPr txBox="1"/>
              <p:nvPr userDrawn="1"/>
            </p:nvSpPr>
            <p:spPr>
              <a:xfrm>
                <a:off x="9694938" y="2522575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yping an email address into the contact info will automatically create a hyperlink.</a:t>
                </a: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9A7FC49C-9563-8045-A659-511775C12BE2}"/>
                  </a:ext>
                </a:extLst>
              </p:cNvPr>
              <p:cNvSpPr txBox="1"/>
              <p:nvPr userDrawn="1"/>
            </p:nvSpPr>
            <p:spPr>
              <a:xfrm>
                <a:off x="9830981" y="3162742"/>
                <a:ext cx="2374733" cy="107722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>
                    <a:solidFill>
                      <a:schemeClr val="bg1">
                        <a:lumMod val="65000"/>
                      </a:schemeClr>
                    </a:solidFill>
                  </a:rPr>
                  <a:t>You can use CTRL+Z or the menu button.</a:t>
                </a: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CD793767-48F5-464F-88A1-9CCB91E4C405}"/>
                  </a:ext>
                </a:extLst>
              </p:cNvPr>
              <p:cNvSpPr txBox="1"/>
              <p:nvPr userDrawn="1"/>
            </p:nvSpPr>
            <p:spPr>
              <a:xfrm>
                <a:off x="9701720" y="3337263"/>
                <a:ext cx="2384904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o remove an pre-existing hyperlink,</a:t>
                </a:r>
                <a:b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</a:b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 click on the hyperlink and choose “Remove Link” (                 )</a:t>
                </a:r>
              </a:p>
            </p:txBody>
          </p:sp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101078BD-505E-0F4C-AD76-8DD34B7498C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676602" y="3604038"/>
                <a:ext cx="478277" cy="101726"/>
              </a:xfrm>
              <a:prstGeom prst="rect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C71C768-6B06-514A-9B09-14236993DABA}"/>
              </a:ext>
            </a:extLst>
          </p:cNvPr>
          <p:cNvGrpSpPr/>
          <p:nvPr userDrawn="1"/>
        </p:nvGrpSpPr>
        <p:grpSpPr>
          <a:xfrm>
            <a:off x="574987" y="-246933"/>
            <a:ext cx="11040535" cy="7347304"/>
            <a:chOff x="431240" y="-246933"/>
            <a:chExt cx="8280401" cy="7347304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9B95636A-1056-924A-97B4-C3A6F8C3B1B4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A3BD970C-9E24-EF4F-8A3A-73AB3554235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5D3E976-ACCC-3442-8667-B012B51D2E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0A1A29BA-21FE-BF4F-A419-8BEDC8913E4C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07CF734D-3FF9-4E47-A5C5-1D33DD70F237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id="{A3D8645B-FB11-AF4F-A236-5EEAA664B356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43479ADB-FA23-394E-8391-00230A9B7BB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5CE960C4-BA95-7E46-819D-BD872CA8C5ED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/>
                </a:p>
              </p:txBody>
            </p:sp>
          </p:grp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D1DED7A1-A6E1-1B4A-B40C-99489D2EB2D3}"/>
                  </a:ext>
                </a:extLst>
              </p:cNvPr>
              <p:cNvSpPr txBox="1"/>
              <p:nvPr userDrawn="1"/>
            </p:nvSpPr>
            <p:spPr>
              <a:xfrm>
                <a:off x="3914336" y="-176700"/>
                <a:ext cx="1315339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83" name="Straight Arrow Connector 82">
                <a:extLst>
                  <a:ext uri="{FF2B5EF4-FFF2-40B4-BE49-F238E27FC236}">
                    <a16:creationId xmlns:a16="http://schemas.microsoft.com/office/drawing/2014/main" id="{EA4680D5-EBE2-9445-9E04-4B3E32771EF3}"/>
                  </a:ext>
                </a:extLst>
              </p:cNvPr>
              <p:cNvCxnSpPr>
                <a:cxnSpLocks/>
                <a:stCxn id="82" idx="1"/>
                <a:endCxn id="87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Arrow Connector 83">
                <a:extLst>
                  <a:ext uri="{FF2B5EF4-FFF2-40B4-BE49-F238E27FC236}">
                    <a16:creationId xmlns:a16="http://schemas.microsoft.com/office/drawing/2014/main" id="{1C4946BD-BA2D-B243-9830-431EA0108821}"/>
                  </a:ext>
                </a:extLst>
              </p:cNvPr>
              <p:cNvCxnSpPr>
                <a:cxnSpLocks/>
                <a:stCxn id="82" idx="3"/>
                <a:endCxn id="87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476032593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D2CA9-4A4A-479D-8A6D-DB9B26D72CD9}" type="datetimeFigureOut">
              <a:rPr lang="en-US" smtClean="0"/>
              <a:t>9/2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B2140-45F9-443B-BAD4-5C52E792A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2120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95078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419801"/>
            <a:ext cx="10363200" cy="578683"/>
          </a:xfrm>
          <a:prstGeom prst="rect">
            <a:avLst/>
          </a:prstGeom>
        </p:spPr>
        <p:txBody>
          <a:bodyPr/>
          <a:lstStyle>
            <a:lvl1pPr algn="l">
              <a:defRPr sz="4267" b="1" i="0">
                <a:solidFill>
                  <a:srgbClr val="163C58"/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1pPr>
          </a:lstStyle>
          <a:p>
            <a:r>
              <a:rPr lang="en-US"/>
              <a:t>EDIT TITLE</a:t>
            </a:r>
          </a:p>
        </p:txBody>
      </p:sp>
      <p:sp>
        <p:nvSpPr>
          <p:cNvPr id="7" name="Content Placeholder 16"/>
          <p:cNvSpPr>
            <a:spLocks noGrp="1"/>
          </p:cNvSpPr>
          <p:nvPr>
            <p:ph sz="quarter" idx="13"/>
          </p:nvPr>
        </p:nvSpPr>
        <p:spPr>
          <a:xfrm>
            <a:off x="914400" y="1243725"/>
            <a:ext cx="4889645" cy="4526588"/>
          </a:xfrm>
          <a:prstGeom prst="rect">
            <a:avLst/>
          </a:prstGeom>
        </p:spPr>
        <p:txBody>
          <a:bodyPr vert="horz"/>
          <a:lstStyle>
            <a:lvl1pPr marL="457189" indent="-457189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1pPr>
            <a:lvl2pPr marL="990575" indent="-380990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2pPr>
            <a:lvl3pPr marL="1523962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3pPr>
            <a:lvl4pPr marL="2133547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4pPr>
            <a:lvl5pPr marL="2743131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6"/>
          <p:cNvSpPr>
            <a:spLocks noGrp="1"/>
          </p:cNvSpPr>
          <p:nvPr>
            <p:ph sz="quarter" idx="14" hasCustomPrompt="1"/>
          </p:nvPr>
        </p:nvSpPr>
        <p:spPr>
          <a:xfrm>
            <a:off x="937757" y="168615"/>
            <a:ext cx="10363200" cy="339387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1pPr>
            <a:lvl2pPr>
              <a:lnSpc>
                <a:spcPct val="120000"/>
              </a:lnSpc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2pPr>
            <a:lvl3pPr>
              <a:lnSpc>
                <a:spcPct val="120000"/>
              </a:lnSpc>
              <a:defRPr sz="2667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3pPr>
            <a:lvl4pPr>
              <a:lnSpc>
                <a:spcPct val="120000"/>
              </a:lnSpc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4pPr>
            <a:lvl5pPr>
              <a:lnSpc>
                <a:spcPct val="120000"/>
              </a:lnSpc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endParaRPr lang="en-US"/>
          </a:p>
        </p:txBody>
      </p:sp>
      <p:sp>
        <p:nvSpPr>
          <p:cNvPr id="12" name="Content Placeholder 16"/>
          <p:cNvSpPr>
            <a:spLocks noGrp="1"/>
          </p:cNvSpPr>
          <p:nvPr>
            <p:ph sz="quarter" idx="15"/>
          </p:nvPr>
        </p:nvSpPr>
        <p:spPr>
          <a:xfrm>
            <a:off x="6387955" y="1243725"/>
            <a:ext cx="4889645" cy="4526588"/>
          </a:xfrm>
          <a:prstGeom prst="rect">
            <a:avLst/>
          </a:prstGeom>
        </p:spPr>
        <p:txBody>
          <a:bodyPr vert="horz"/>
          <a:lstStyle>
            <a:lvl1pPr marL="457189" indent="-457189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1pPr>
            <a:lvl2pPr marL="990575" indent="-380990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2pPr>
            <a:lvl3pPr marL="1523962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3pPr>
            <a:lvl4pPr marL="2133547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4pPr>
            <a:lvl5pPr marL="2743131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3080" y="1243725"/>
            <a:ext cx="0" cy="4526588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62712" y="1181695"/>
            <a:ext cx="10214888" cy="0"/>
          </a:xfrm>
          <a:prstGeom prst="line">
            <a:avLst/>
          </a:prstGeom>
          <a:ln w="1905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78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2EBE3-B3B2-6C40-AA97-3CEEC1233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1BC927-88D9-9C4D-8DA4-5F9BA57EF5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8EDE6C-3E2F-2C48-9B4C-162B042A35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5240" y="6397913"/>
            <a:ext cx="574964" cy="365125"/>
          </a:xfrm>
          <a:prstGeom prst="rect">
            <a:avLst/>
          </a:prstGeom>
        </p:spPr>
        <p:txBody>
          <a:bodyPr/>
          <a:lstStyle/>
          <a:p>
            <a:fld id="{CF3FD8DC-1549-8049-AC02-125FB22E7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20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2EBE3-B3B2-6C40-AA97-3CEEC1233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1BC927-88D9-9C4D-8DA4-5F9BA57EF5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8EDE6C-3E2F-2C48-9B4C-162B042A35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5240" y="6397913"/>
            <a:ext cx="574964" cy="365125"/>
          </a:xfrm>
          <a:prstGeom prst="rect">
            <a:avLst/>
          </a:prstGeom>
        </p:spPr>
        <p:txBody>
          <a:bodyPr/>
          <a:lstStyle/>
          <a:p>
            <a:fld id="{CF3FD8DC-1549-8049-AC02-125FB22E7295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8835BC16-13D8-3A49-BD71-7D8EA9D3DC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469" y="444063"/>
            <a:ext cx="2603062" cy="976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119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2EBE3-B3B2-6C40-AA97-3CEEC1233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solidFill>
            <a:schemeClr val="bg1"/>
          </a:solidFill>
        </p:spPr>
        <p:txBody>
          <a:bodyPr anchor="b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1BC927-88D9-9C4D-8DA4-5F9BA57EF5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8EDE6C-3E2F-2C48-9B4C-162B042A35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5240" y="6397913"/>
            <a:ext cx="574964" cy="365125"/>
          </a:xfrm>
          <a:prstGeom prst="rect">
            <a:avLst/>
          </a:prstGeom>
        </p:spPr>
        <p:txBody>
          <a:bodyPr/>
          <a:lstStyle/>
          <a:p>
            <a:fld id="{CF3FD8DC-1549-8049-AC02-125FB22E7295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F630A4B2-4B61-3649-A57C-1FE29BB3E1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3450" y="405512"/>
            <a:ext cx="2603061" cy="1053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1163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DC4495-523D-7E4A-9040-FB0D0177B3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812667-204E-D044-B500-02F73ACF83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2916793-4989-0547-A485-5ECBA52AC9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5240" y="6397913"/>
            <a:ext cx="574964" cy="365125"/>
          </a:xfrm>
          <a:prstGeom prst="rect">
            <a:avLst/>
          </a:prstGeom>
        </p:spPr>
        <p:txBody>
          <a:bodyPr/>
          <a:lstStyle/>
          <a:p>
            <a:fld id="{CF3FD8DC-1549-8049-AC02-125FB22E7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904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2916793-4989-0547-A485-5ECBA52AC9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5240" y="6397913"/>
            <a:ext cx="574964" cy="365125"/>
          </a:xfrm>
          <a:prstGeom prst="rect">
            <a:avLst/>
          </a:prstGeom>
        </p:spPr>
        <p:txBody>
          <a:bodyPr/>
          <a:lstStyle/>
          <a:p>
            <a:fld id="{CF3FD8DC-1549-8049-AC02-125FB22E729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3A3A4E2A-E5E8-3E4A-B3A0-4C1710FD9C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27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F877B15-5DB8-BC4A-A438-38B2A2196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01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358343-0D38-8F43-B64D-366D3932FD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4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2A9C4C-F018-F94B-83AF-BA2E25D518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6A7343-C838-D444-8C3E-D3802CEC8823}"/>
              </a:ext>
            </a:extLst>
          </p:cNvPr>
          <p:cNvSpPr txBox="1">
            <a:spLocks/>
          </p:cNvSpPr>
          <p:nvPr/>
        </p:nvSpPr>
        <p:spPr>
          <a:xfrm>
            <a:off x="11445240" y="6397913"/>
            <a:ext cx="57496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3FD8DC-1549-8049-AC02-125FB22E729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886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9C2CC3-4150-4D4D-B5DA-3AE25760AE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F21CAA-BD38-EF4C-9BDC-9C69A075B2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75DACD5-A163-C645-9988-823F171C68E1}"/>
              </a:ext>
            </a:extLst>
          </p:cNvPr>
          <p:cNvSpPr txBox="1">
            <a:spLocks/>
          </p:cNvSpPr>
          <p:nvPr/>
        </p:nvSpPr>
        <p:spPr>
          <a:xfrm>
            <a:off x="11445240" y="6397913"/>
            <a:ext cx="57496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3FD8DC-1549-8049-AC02-125FB22E729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0ECF1CC-4926-0E4D-BC2E-EC3FADF4E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820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C65DF4-9CC6-3246-94AA-F843D6F670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28D42E-20B9-A741-8E6B-1BAAF2965C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9AC090-CCB6-EE40-B8A8-1384B61C84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008D75D-61B7-DA4C-B96B-6DED6614D2E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E72894F-159C-9241-9075-57FC4D44F27F}"/>
              </a:ext>
            </a:extLst>
          </p:cNvPr>
          <p:cNvSpPr txBox="1">
            <a:spLocks/>
          </p:cNvSpPr>
          <p:nvPr/>
        </p:nvSpPr>
        <p:spPr>
          <a:xfrm>
            <a:off x="11445240" y="6397913"/>
            <a:ext cx="57496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3FD8DC-1549-8049-AC02-125FB22E729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C33B0D-4409-5C4A-8929-E845176A60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262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D2CA9-4A4A-479D-8A6D-DB9B26D72CD9}" type="datetimeFigureOut">
              <a:rPr lang="en-US" smtClean="0"/>
              <a:t>9/21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B2140-45F9-443B-BAD4-5C52E792A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816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40E260-0FEC-BD41-AC20-78A265BCE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A6D720-F212-D540-8BB4-80D122FD537B}"/>
              </a:ext>
            </a:extLst>
          </p:cNvPr>
          <p:cNvSpPr txBox="1">
            <a:spLocks/>
          </p:cNvSpPr>
          <p:nvPr/>
        </p:nvSpPr>
        <p:spPr>
          <a:xfrm>
            <a:off x="11445240" y="6397913"/>
            <a:ext cx="57496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3FD8DC-1549-8049-AC02-125FB22E729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919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DE0C5F4-4A69-204B-8DD1-530918FA93F9}"/>
              </a:ext>
            </a:extLst>
          </p:cNvPr>
          <p:cNvSpPr txBox="1">
            <a:spLocks/>
          </p:cNvSpPr>
          <p:nvPr/>
        </p:nvSpPr>
        <p:spPr>
          <a:xfrm>
            <a:off x="11445240" y="6397913"/>
            <a:ext cx="57496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3FD8DC-1549-8049-AC02-125FB22E729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97CD5F4-0BA1-D348-9EA5-FAEEF4C6B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8725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C70AAF0-B25D-2B4A-A056-3C3655289197}"/>
              </a:ext>
            </a:extLst>
          </p:cNvPr>
          <p:cNvSpPr txBox="1">
            <a:spLocks/>
          </p:cNvSpPr>
          <p:nvPr/>
        </p:nvSpPr>
        <p:spPr>
          <a:xfrm>
            <a:off x="11445240" y="6397913"/>
            <a:ext cx="57496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3FD8DC-1549-8049-AC02-125FB22E729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10C65C50-7E2F-0640-A618-1F24A3B1D4C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27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119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80CAFD-4B51-E546-A0F9-C19CD6E53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2049461"/>
            <a:ext cx="6172200" cy="381158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E236DB-8A0E-184B-B358-EE1EB15FFDC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C72C739-2F60-D840-9AE2-6F4329D46B44}"/>
              </a:ext>
            </a:extLst>
          </p:cNvPr>
          <p:cNvSpPr txBox="1">
            <a:spLocks/>
          </p:cNvSpPr>
          <p:nvPr/>
        </p:nvSpPr>
        <p:spPr>
          <a:xfrm>
            <a:off x="11445240" y="6397913"/>
            <a:ext cx="57496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3FD8DC-1549-8049-AC02-125FB22E729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AB2105-E3B9-5640-8577-B4CCA44B7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>
            <a:lvl1pPr algn="l"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2114367-155E-3A44-9F76-05F2D45EF0C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2049461"/>
            <a:ext cx="6172200" cy="381158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E14CAD-C43C-EC48-AAE9-8ED31487AE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6CEE83E-C99B-8645-B7B6-91D2A4790A22}"/>
              </a:ext>
            </a:extLst>
          </p:cNvPr>
          <p:cNvSpPr txBox="1">
            <a:spLocks/>
          </p:cNvSpPr>
          <p:nvPr/>
        </p:nvSpPr>
        <p:spPr>
          <a:xfrm>
            <a:off x="11445240" y="6397913"/>
            <a:ext cx="57496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3FD8DC-1549-8049-AC02-125FB22E729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8FE6146-6A3C-F64E-A405-A97DA364BD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>
            <a:lvl1pPr algn="l"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941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419801"/>
            <a:ext cx="10363200" cy="578683"/>
          </a:xfrm>
          <a:prstGeom prst="rect">
            <a:avLst/>
          </a:prstGeom>
        </p:spPr>
        <p:txBody>
          <a:bodyPr/>
          <a:lstStyle>
            <a:lvl1pPr algn="l">
              <a:defRPr sz="4267" b="1" i="0">
                <a:solidFill>
                  <a:srgbClr val="163C58"/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1pPr>
          </a:lstStyle>
          <a:p>
            <a:r>
              <a:rPr lang="en-US" dirty="0"/>
              <a:t>EDIT TITL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3"/>
          </p:nvPr>
        </p:nvSpPr>
        <p:spPr>
          <a:xfrm>
            <a:off x="914400" y="1243725"/>
            <a:ext cx="10363200" cy="4526588"/>
          </a:xfrm>
          <a:prstGeom prst="rect">
            <a:avLst/>
          </a:prstGeom>
        </p:spPr>
        <p:txBody>
          <a:bodyPr vert="horz"/>
          <a:lstStyle>
            <a:lvl1pPr marL="457189" indent="-457189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1pPr>
            <a:lvl2pPr marL="990575" indent="-380990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2pPr>
            <a:lvl3pPr marL="1523962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3pPr>
            <a:lvl4pPr marL="2133547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4pPr>
            <a:lvl5pPr marL="2743131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4" hasCustomPrompt="1"/>
          </p:nvPr>
        </p:nvSpPr>
        <p:spPr>
          <a:xfrm>
            <a:off x="937757" y="168615"/>
            <a:ext cx="10363200" cy="339387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1pPr>
            <a:lvl2pPr>
              <a:lnSpc>
                <a:spcPct val="120000"/>
              </a:lnSpc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2pPr>
            <a:lvl3pPr>
              <a:lnSpc>
                <a:spcPct val="120000"/>
              </a:lnSpc>
              <a:defRPr sz="2667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3pPr>
            <a:lvl4pPr>
              <a:lnSpc>
                <a:spcPct val="120000"/>
              </a:lnSpc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4pPr>
            <a:lvl5pPr>
              <a:lnSpc>
                <a:spcPct val="120000"/>
              </a:lnSpc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1062712" y="1181695"/>
            <a:ext cx="10214888" cy="0"/>
          </a:xfrm>
          <a:prstGeom prst="line">
            <a:avLst/>
          </a:prstGeom>
          <a:ln w="1905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C0051F-0E42-4B92-9FF4-BFA270DD39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27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fld id="{B93BA16E-1A14-4E99-A2AB-BC7A657BC8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26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419801"/>
            <a:ext cx="10363200" cy="578683"/>
          </a:xfrm>
          <a:prstGeom prst="rect">
            <a:avLst/>
          </a:prstGeom>
        </p:spPr>
        <p:txBody>
          <a:bodyPr/>
          <a:lstStyle>
            <a:lvl1pPr algn="l">
              <a:defRPr sz="4267" b="1" i="0">
                <a:solidFill>
                  <a:srgbClr val="163C58"/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1pPr>
          </a:lstStyle>
          <a:p>
            <a:r>
              <a:rPr lang="en-US"/>
              <a:t>EDIT TITLE</a:t>
            </a:r>
          </a:p>
        </p:txBody>
      </p:sp>
      <p:sp>
        <p:nvSpPr>
          <p:cNvPr id="7" name="Content Placeholder 16"/>
          <p:cNvSpPr>
            <a:spLocks noGrp="1"/>
          </p:cNvSpPr>
          <p:nvPr>
            <p:ph sz="quarter" idx="13"/>
          </p:nvPr>
        </p:nvSpPr>
        <p:spPr>
          <a:xfrm>
            <a:off x="914400" y="1243725"/>
            <a:ext cx="4889645" cy="4526588"/>
          </a:xfrm>
          <a:prstGeom prst="rect">
            <a:avLst/>
          </a:prstGeom>
        </p:spPr>
        <p:txBody>
          <a:bodyPr vert="horz"/>
          <a:lstStyle>
            <a:lvl1pPr marL="457189" indent="-457189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1pPr>
            <a:lvl2pPr marL="990575" indent="-380990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2pPr>
            <a:lvl3pPr marL="1523962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3pPr>
            <a:lvl4pPr marL="2133547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4pPr>
            <a:lvl5pPr marL="2743131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6"/>
          <p:cNvSpPr>
            <a:spLocks noGrp="1"/>
          </p:cNvSpPr>
          <p:nvPr>
            <p:ph sz="quarter" idx="14" hasCustomPrompt="1"/>
          </p:nvPr>
        </p:nvSpPr>
        <p:spPr>
          <a:xfrm>
            <a:off x="937757" y="168615"/>
            <a:ext cx="10363200" cy="339387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1pPr>
            <a:lvl2pPr>
              <a:lnSpc>
                <a:spcPct val="120000"/>
              </a:lnSpc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2pPr>
            <a:lvl3pPr>
              <a:lnSpc>
                <a:spcPct val="120000"/>
              </a:lnSpc>
              <a:defRPr sz="2667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3pPr>
            <a:lvl4pPr>
              <a:lnSpc>
                <a:spcPct val="120000"/>
              </a:lnSpc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4pPr>
            <a:lvl5pPr>
              <a:lnSpc>
                <a:spcPct val="120000"/>
              </a:lnSpc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endParaRPr lang="en-US"/>
          </a:p>
        </p:txBody>
      </p:sp>
      <p:sp>
        <p:nvSpPr>
          <p:cNvPr id="12" name="Content Placeholder 16"/>
          <p:cNvSpPr>
            <a:spLocks noGrp="1"/>
          </p:cNvSpPr>
          <p:nvPr>
            <p:ph sz="quarter" idx="15"/>
          </p:nvPr>
        </p:nvSpPr>
        <p:spPr>
          <a:xfrm>
            <a:off x="6387955" y="1243725"/>
            <a:ext cx="4889645" cy="4526588"/>
          </a:xfrm>
          <a:prstGeom prst="rect">
            <a:avLst/>
          </a:prstGeom>
        </p:spPr>
        <p:txBody>
          <a:bodyPr vert="horz"/>
          <a:lstStyle>
            <a:lvl1pPr marL="457189" indent="-457189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1pPr>
            <a:lvl2pPr marL="990575" indent="-380990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2pPr>
            <a:lvl3pPr marL="1523962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3pPr>
            <a:lvl4pPr marL="2133547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4pPr>
            <a:lvl5pPr marL="2743131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093080" y="1243725"/>
            <a:ext cx="0" cy="4526588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1062712" y="1181695"/>
            <a:ext cx="10214888" cy="0"/>
          </a:xfrm>
          <a:prstGeom prst="line">
            <a:avLst/>
          </a:prstGeom>
          <a:ln w="1905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7403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419801"/>
            <a:ext cx="10363200" cy="578683"/>
          </a:xfrm>
          <a:prstGeom prst="rect">
            <a:avLst/>
          </a:prstGeom>
        </p:spPr>
        <p:txBody>
          <a:bodyPr/>
          <a:lstStyle>
            <a:lvl1pPr algn="l">
              <a:defRPr sz="4267" b="1" i="0">
                <a:solidFill>
                  <a:srgbClr val="163C58"/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1pPr>
          </a:lstStyle>
          <a:p>
            <a:r>
              <a:rPr lang="en-US" dirty="0" smtClean="0"/>
              <a:t>EDIT TITLE</a:t>
            </a:r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3"/>
          </p:nvPr>
        </p:nvSpPr>
        <p:spPr>
          <a:xfrm>
            <a:off x="914400" y="1243726"/>
            <a:ext cx="10363200" cy="4526588"/>
          </a:xfrm>
          <a:prstGeom prst="rect">
            <a:avLst/>
          </a:prstGeom>
        </p:spPr>
        <p:txBody>
          <a:bodyPr vert="horz"/>
          <a:lstStyle>
            <a:lvl1pPr marL="457178" indent="-457178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1pPr>
            <a:lvl2pPr marL="990550" indent="-380981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2pPr>
            <a:lvl3pPr marL="1523925" indent="-304784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3pPr>
            <a:lvl4pPr marL="2133493" indent="-304784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4pPr>
            <a:lvl5pPr marL="2743062" indent="-304784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4" hasCustomPrompt="1"/>
          </p:nvPr>
        </p:nvSpPr>
        <p:spPr>
          <a:xfrm>
            <a:off x="937757" y="168616"/>
            <a:ext cx="10363200" cy="339387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1pPr>
            <a:lvl2pPr>
              <a:lnSpc>
                <a:spcPct val="120000"/>
              </a:lnSpc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2pPr>
            <a:lvl3pPr>
              <a:lnSpc>
                <a:spcPct val="120000"/>
              </a:lnSpc>
              <a:defRPr sz="2667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3pPr>
            <a:lvl4pPr>
              <a:lnSpc>
                <a:spcPct val="120000"/>
              </a:lnSpc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4pPr>
            <a:lvl5pPr>
              <a:lnSpc>
                <a:spcPct val="120000"/>
              </a:lnSpc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1062712" y="1181695"/>
            <a:ext cx="10214888" cy="0"/>
          </a:xfrm>
          <a:prstGeom prst="line">
            <a:avLst/>
          </a:prstGeom>
          <a:ln w="1905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C0051F-0E42-4B92-9FF4-BFA270DD39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27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fld id="{B93BA16E-1A14-4E99-A2AB-BC7A657BC8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55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419801"/>
            <a:ext cx="10363200" cy="578683"/>
          </a:xfrm>
          <a:prstGeom prst="rect">
            <a:avLst/>
          </a:prstGeom>
        </p:spPr>
        <p:txBody>
          <a:bodyPr/>
          <a:lstStyle>
            <a:lvl1pPr algn="l">
              <a:defRPr sz="4267" b="1" i="0">
                <a:solidFill>
                  <a:srgbClr val="163C58"/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1pPr>
          </a:lstStyle>
          <a:p>
            <a:r>
              <a:rPr lang="en-US" dirty="0" smtClean="0"/>
              <a:t>EDIT TITLE</a:t>
            </a:r>
            <a:endParaRPr lang="en-US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3"/>
          </p:nvPr>
        </p:nvSpPr>
        <p:spPr>
          <a:xfrm>
            <a:off x="914400" y="1243725"/>
            <a:ext cx="10363200" cy="4526588"/>
          </a:xfrm>
          <a:prstGeom prst="rect">
            <a:avLst/>
          </a:prstGeom>
        </p:spPr>
        <p:txBody>
          <a:bodyPr vert="horz"/>
          <a:lstStyle>
            <a:lvl1pPr marL="457189" indent="-457189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1pPr>
            <a:lvl2pPr marL="990575" indent="-380990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2pPr>
            <a:lvl3pPr marL="1523962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3pPr>
            <a:lvl4pPr marL="2133547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4pPr>
            <a:lvl5pPr marL="2743131" indent="-304792">
              <a:lnSpc>
                <a:spcPct val="120000"/>
              </a:lnSpc>
              <a:buClr>
                <a:srgbClr val="1F9FAD"/>
              </a:buClr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  <a:cs typeface="Gill Sans MT" panose="020B0502020104020203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1062712" y="1181695"/>
            <a:ext cx="10214888" cy="0"/>
          </a:xfrm>
          <a:prstGeom prst="line">
            <a:avLst/>
          </a:prstGeom>
          <a:ln w="1905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9C0051F-0E42-4B92-9FF4-BFA270DD39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27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fld id="{B93BA16E-1A14-4E99-A2AB-BC7A657BC8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940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C0051F-0E42-4B92-9FF4-BFA270DD39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3754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fld id="{B93BA16E-1A14-4E99-A2AB-BC7A657BC8A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0030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D2CA9-4A4A-479D-8A6D-DB9B26D72CD9}" type="datetimeFigureOut">
              <a:rPr lang="en-US" smtClean="0"/>
              <a:t>9/2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B2140-45F9-443B-BAD4-5C52E792A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8557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04800" y="946161"/>
            <a:ext cx="11582400" cy="0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04800" y="3061355"/>
            <a:ext cx="11582400" cy="13716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ctr">
              <a:lnSpc>
                <a:spcPct val="100000"/>
              </a:lnSpc>
              <a:defRPr sz="3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77571" y="6457773"/>
            <a:ext cx="312767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>
              <a:defRPr sz="1000" b="1">
                <a:solidFill>
                  <a:schemeClr val="tx1"/>
                </a:solidFill>
                <a:latin typeface="Arial"/>
              </a:defRPr>
            </a:lvl1pPr>
          </a:lstStyle>
          <a:p>
            <a:fld id="{AEDA1C9F-493B-1949-8986-469B5A47FFD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06910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04800" y="158232"/>
            <a:ext cx="11582400" cy="745201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>
              <a:lnSpc>
                <a:spcPct val="100000"/>
              </a:lnSpc>
              <a:defRPr sz="26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goes her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04800" y="946161"/>
            <a:ext cx="11582400" cy="0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77571" y="6457773"/>
            <a:ext cx="312767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>
              <a:defRPr sz="1000" b="1">
                <a:solidFill>
                  <a:schemeClr val="tx1"/>
                </a:solidFill>
                <a:latin typeface="Arial"/>
              </a:defRPr>
            </a:lvl1pPr>
          </a:lstStyle>
          <a:p>
            <a:fld id="{AEDA1C9F-493B-1949-8986-469B5A47FFD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354406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77571" y="6457773"/>
            <a:ext cx="312767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>
              <a:defRPr sz="1000" b="1">
                <a:solidFill>
                  <a:schemeClr val="tx1"/>
                </a:solidFill>
                <a:latin typeface="Arial"/>
              </a:defRPr>
            </a:lvl1pPr>
          </a:lstStyle>
          <a:p>
            <a:fld id="{AEDA1C9F-493B-1949-8986-469B5A47FFD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8183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097280"/>
          </a:xfrm>
          <a:prstGeom prst="rect">
            <a:avLst/>
          </a:prstGeom>
          <a:solidFill>
            <a:schemeClr val="bg1">
              <a:lumMod val="8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6519672"/>
            <a:ext cx="12192000" cy="338328"/>
          </a:xfrm>
          <a:prstGeom prst="rect">
            <a:avLst/>
          </a:prstGeom>
          <a:solidFill>
            <a:srgbClr val="00437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76200"/>
            <a:ext cx="9956800" cy="533400"/>
          </a:xfrm>
          <a:prstGeom prst="rect">
            <a:avLst/>
          </a:prstGeom>
        </p:spPr>
        <p:txBody>
          <a:bodyPr lIns="91429" tIns="45714" rIns="91429" bIns="45714"/>
          <a:lstStyle>
            <a:lvl1pPr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11582400" cy="4953000"/>
          </a:xfrm>
          <a:prstGeom prst="rect">
            <a:avLst/>
          </a:prstGeom>
        </p:spPr>
        <p:txBody>
          <a:bodyPr/>
          <a:lstStyle>
            <a:lvl1pPr>
              <a:buClrTx/>
              <a:buFont typeface="Calibri" pitchFamily="34" charset="0"/>
              <a:buChar char="–"/>
              <a:defRPr sz="2600" b="1">
                <a:latin typeface="+mj-lt"/>
              </a:defRPr>
            </a:lvl1pPr>
            <a:lvl2pPr>
              <a:buClr>
                <a:srgbClr val="0070C0"/>
              </a:buClr>
              <a:buFont typeface="Arial" pitchFamily="34" charset="0"/>
              <a:buChar char="•"/>
              <a:defRPr lang="en-US" sz="2200" kern="120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haroni" pitchFamily="2" charset="-79"/>
              </a:defRPr>
            </a:lvl2pPr>
            <a:lvl3pPr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  <a:defRPr lang="en-US" sz="2000" kern="1200" baseline="0" dirty="0" smtClean="0">
                <a:solidFill>
                  <a:srgbClr val="0070C0"/>
                </a:solidFill>
                <a:latin typeface="+mj-lt"/>
                <a:ea typeface="+mn-ea"/>
                <a:cs typeface="Aharoni" pitchFamily="2" charset="-79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1142867" lvl="2" indent="-228573" algn="l" defTabSz="914293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§"/>
            </a:pPr>
            <a:r>
              <a:rPr lang="en-US" dirty="0"/>
              <a:t>Thir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1143000"/>
            <a:ext cx="12192000" cy="0"/>
          </a:xfrm>
          <a:prstGeom prst="line">
            <a:avLst/>
          </a:prstGeom>
          <a:ln w="88900">
            <a:solidFill>
              <a:srgbClr val="0043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ubtitle Placeholder 1"/>
          <p:cNvSpPr>
            <a:spLocks noGrp="1"/>
          </p:cNvSpPr>
          <p:nvPr>
            <p:ph type="body" sz="quarter" idx="14"/>
          </p:nvPr>
        </p:nvSpPr>
        <p:spPr>
          <a:xfrm>
            <a:off x="711200" y="609600"/>
            <a:ext cx="9245600" cy="304800"/>
          </a:xfrm>
          <a:prstGeom prst="rect">
            <a:avLst/>
          </a:prstGeom>
        </p:spPr>
        <p:txBody>
          <a:bodyPr/>
          <a:lstStyle>
            <a:lvl1pPr>
              <a:buNone/>
              <a:defRPr lang="en-US" sz="2000" b="0" kern="120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Dominion_Energy®_Horizontal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840" y="155735"/>
            <a:ext cx="2194560" cy="758667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6519672"/>
            <a:ext cx="609600" cy="338328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latin typeface="+mj-lt"/>
              </a:defRPr>
            </a:lvl1pPr>
          </a:lstStyle>
          <a:p>
            <a:fld id="{8B29BB26-853B-47B6-989C-FFE98E2A2CB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r>
              <a:rPr lang="en-US" dirty="0">
                <a:solidFill>
                  <a:prstClr val="white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3039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097280"/>
          </a:xfrm>
          <a:prstGeom prst="rect">
            <a:avLst/>
          </a:prstGeom>
          <a:solidFill>
            <a:schemeClr val="bg1">
              <a:lumMod val="8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6519672"/>
            <a:ext cx="12192000" cy="338328"/>
          </a:xfrm>
          <a:prstGeom prst="rect">
            <a:avLst/>
          </a:prstGeom>
          <a:solidFill>
            <a:srgbClr val="00437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76200"/>
            <a:ext cx="9956800" cy="533400"/>
          </a:xfrm>
          <a:prstGeom prst="rect">
            <a:avLst/>
          </a:prstGeom>
        </p:spPr>
        <p:txBody>
          <a:bodyPr lIns="91429" tIns="45714" rIns="91429" bIns="45714"/>
          <a:lstStyle>
            <a:lvl1pPr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11582400" cy="4953000"/>
          </a:xfrm>
          <a:prstGeom prst="rect">
            <a:avLst/>
          </a:prstGeom>
        </p:spPr>
        <p:txBody>
          <a:bodyPr/>
          <a:lstStyle>
            <a:lvl1pPr>
              <a:buClrTx/>
              <a:buFont typeface="Calibri" pitchFamily="34" charset="0"/>
              <a:buChar char="–"/>
              <a:defRPr sz="2600" b="1">
                <a:latin typeface="+mj-lt"/>
              </a:defRPr>
            </a:lvl1pPr>
            <a:lvl2pPr>
              <a:buClr>
                <a:srgbClr val="0070C0"/>
              </a:buClr>
              <a:buFont typeface="Arial" pitchFamily="34" charset="0"/>
              <a:buChar char="•"/>
              <a:defRPr lang="en-US" sz="2200" kern="120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haroni" pitchFamily="2" charset="-79"/>
              </a:defRPr>
            </a:lvl2pPr>
            <a:lvl3pPr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  <a:defRPr lang="en-US" sz="2000" kern="1200" baseline="0" dirty="0" smtClean="0">
                <a:solidFill>
                  <a:srgbClr val="0070C0"/>
                </a:solidFill>
                <a:latin typeface="+mj-lt"/>
                <a:ea typeface="+mn-ea"/>
                <a:cs typeface="Aharoni" pitchFamily="2" charset="-79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1142867" lvl="2" indent="-228573" algn="l" defTabSz="914293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§"/>
            </a:pPr>
            <a:r>
              <a:rPr lang="en-US" dirty="0"/>
              <a:t>Thir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1143000"/>
            <a:ext cx="12192000" cy="0"/>
          </a:xfrm>
          <a:prstGeom prst="line">
            <a:avLst/>
          </a:prstGeom>
          <a:ln w="88900">
            <a:solidFill>
              <a:srgbClr val="0043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ubtitle Placeholder 1"/>
          <p:cNvSpPr>
            <a:spLocks noGrp="1"/>
          </p:cNvSpPr>
          <p:nvPr>
            <p:ph type="body" sz="quarter" idx="14"/>
          </p:nvPr>
        </p:nvSpPr>
        <p:spPr>
          <a:xfrm>
            <a:off x="711200" y="609600"/>
            <a:ext cx="9245600" cy="304800"/>
          </a:xfrm>
          <a:prstGeom prst="rect">
            <a:avLst/>
          </a:prstGeom>
        </p:spPr>
        <p:txBody>
          <a:bodyPr/>
          <a:lstStyle>
            <a:lvl1pPr>
              <a:buNone/>
              <a:defRPr lang="en-US" sz="2000" b="0" kern="120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Dominion_Energy®_Horizontal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840" y="155735"/>
            <a:ext cx="2194560" cy="758667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6519672"/>
            <a:ext cx="609600" cy="338328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latin typeface="+mj-lt"/>
              </a:defRPr>
            </a:lvl1pPr>
          </a:lstStyle>
          <a:p>
            <a:fld id="{8B29BB26-853B-47B6-989C-FFE98E2A2CB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r>
              <a:rPr lang="en-US" dirty="0">
                <a:solidFill>
                  <a:prstClr val="white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571223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097280"/>
          </a:xfrm>
          <a:prstGeom prst="rect">
            <a:avLst/>
          </a:prstGeom>
          <a:solidFill>
            <a:schemeClr val="bg1">
              <a:lumMod val="8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6519672"/>
            <a:ext cx="12192000" cy="338328"/>
          </a:xfrm>
          <a:prstGeom prst="rect">
            <a:avLst/>
          </a:prstGeom>
          <a:solidFill>
            <a:srgbClr val="00437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76200"/>
            <a:ext cx="9956800" cy="533400"/>
          </a:xfrm>
          <a:prstGeom prst="rect">
            <a:avLst/>
          </a:prstGeom>
        </p:spPr>
        <p:txBody>
          <a:bodyPr lIns="91429" tIns="45714" rIns="91429" bIns="45714"/>
          <a:lstStyle>
            <a:lvl1pPr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11582400" cy="4953000"/>
          </a:xfrm>
          <a:prstGeom prst="rect">
            <a:avLst/>
          </a:prstGeom>
        </p:spPr>
        <p:txBody>
          <a:bodyPr/>
          <a:lstStyle>
            <a:lvl1pPr>
              <a:buClrTx/>
              <a:buFont typeface="Calibri" pitchFamily="34" charset="0"/>
              <a:buChar char="–"/>
              <a:defRPr sz="2600" b="1">
                <a:latin typeface="+mj-lt"/>
              </a:defRPr>
            </a:lvl1pPr>
            <a:lvl2pPr>
              <a:buClr>
                <a:srgbClr val="0070C0"/>
              </a:buClr>
              <a:buFont typeface="Arial" pitchFamily="34" charset="0"/>
              <a:buChar char="•"/>
              <a:defRPr lang="en-US" sz="2200" kern="120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haroni" pitchFamily="2" charset="-79"/>
              </a:defRPr>
            </a:lvl2pPr>
            <a:lvl3pPr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  <a:defRPr lang="en-US" sz="2000" kern="1200" baseline="0" dirty="0" smtClean="0">
                <a:solidFill>
                  <a:srgbClr val="0070C0"/>
                </a:solidFill>
                <a:latin typeface="+mj-lt"/>
                <a:ea typeface="+mn-ea"/>
                <a:cs typeface="Aharoni" pitchFamily="2" charset="-79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1142867" lvl="2" indent="-228573" algn="l" defTabSz="914293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§"/>
            </a:pPr>
            <a:r>
              <a:rPr lang="en-US" dirty="0"/>
              <a:t>Thir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1143000"/>
            <a:ext cx="12192000" cy="0"/>
          </a:xfrm>
          <a:prstGeom prst="line">
            <a:avLst/>
          </a:prstGeom>
          <a:ln w="88900">
            <a:solidFill>
              <a:srgbClr val="0043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ubtitle Placeholder 1"/>
          <p:cNvSpPr>
            <a:spLocks noGrp="1"/>
          </p:cNvSpPr>
          <p:nvPr>
            <p:ph type="body" sz="quarter" idx="14"/>
          </p:nvPr>
        </p:nvSpPr>
        <p:spPr>
          <a:xfrm>
            <a:off x="711200" y="609600"/>
            <a:ext cx="9245600" cy="304800"/>
          </a:xfrm>
          <a:prstGeom prst="rect">
            <a:avLst/>
          </a:prstGeom>
        </p:spPr>
        <p:txBody>
          <a:bodyPr/>
          <a:lstStyle>
            <a:lvl1pPr>
              <a:buNone/>
              <a:defRPr lang="en-US" sz="2000" b="0" kern="120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Dominion_Energy®_Horizontal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840" y="155735"/>
            <a:ext cx="2194560" cy="758667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6519672"/>
            <a:ext cx="609600" cy="338328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latin typeface="+mj-lt"/>
              </a:defRPr>
            </a:lvl1pPr>
          </a:lstStyle>
          <a:p>
            <a:fld id="{8B29BB26-853B-47B6-989C-FFE98E2A2CB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r>
              <a:rPr lang="en-US" dirty="0">
                <a:solidFill>
                  <a:prstClr val="white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431080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097280"/>
          </a:xfrm>
          <a:prstGeom prst="rect">
            <a:avLst/>
          </a:prstGeom>
          <a:solidFill>
            <a:schemeClr val="bg1">
              <a:lumMod val="8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6519672"/>
            <a:ext cx="12192000" cy="338328"/>
          </a:xfrm>
          <a:prstGeom prst="rect">
            <a:avLst/>
          </a:prstGeom>
          <a:solidFill>
            <a:srgbClr val="00437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76200"/>
            <a:ext cx="9956800" cy="533400"/>
          </a:xfrm>
          <a:prstGeom prst="rect">
            <a:avLst/>
          </a:prstGeom>
        </p:spPr>
        <p:txBody>
          <a:bodyPr lIns="91429" tIns="45714" rIns="91429" bIns="45714"/>
          <a:lstStyle>
            <a:lvl1pPr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11582400" cy="4953000"/>
          </a:xfrm>
          <a:prstGeom prst="rect">
            <a:avLst/>
          </a:prstGeom>
        </p:spPr>
        <p:txBody>
          <a:bodyPr/>
          <a:lstStyle>
            <a:lvl1pPr>
              <a:buClrTx/>
              <a:buFont typeface="Calibri" pitchFamily="34" charset="0"/>
              <a:buChar char="–"/>
              <a:defRPr sz="2600" b="1">
                <a:latin typeface="+mj-lt"/>
              </a:defRPr>
            </a:lvl1pPr>
            <a:lvl2pPr>
              <a:buClr>
                <a:srgbClr val="0070C0"/>
              </a:buClr>
              <a:buFont typeface="Arial" pitchFamily="34" charset="0"/>
              <a:buChar char="•"/>
              <a:defRPr lang="en-US" sz="2200" kern="120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haroni" pitchFamily="2" charset="-79"/>
              </a:defRPr>
            </a:lvl2pPr>
            <a:lvl3pPr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  <a:defRPr lang="en-US" sz="2000" kern="1200" baseline="0" dirty="0" smtClean="0">
                <a:solidFill>
                  <a:srgbClr val="0070C0"/>
                </a:solidFill>
                <a:latin typeface="+mj-lt"/>
                <a:ea typeface="+mn-ea"/>
                <a:cs typeface="Aharoni" pitchFamily="2" charset="-79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1142867" lvl="2" indent="-228573" algn="l" defTabSz="914293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§"/>
            </a:pPr>
            <a:r>
              <a:rPr lang="en-US" dirty="0"/>
              <a:t>Thir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1143000"/>
            <a:ext cx="12192000" cy="0"/>
          </a:xfrm>
          <a:prstGeom prst="line">
            <a:avLst/>
          </a:prstGeom>
          <a:ln w="88900">
            <a:solidFill>
              <a:srgbClr val="0043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ubtitle Placeholder 1"/>
          <p:cNvSpPr>
            <a:spLocks noGrp="1"/>
          </p:cNvSpPr>
          <p:nvPr>
            <p:ph type="body" sz="quarter" idx="14"/>
          </p:nvPr>
        </p:nvSpPr>
        <p:spPr>
          <a:xfrm>
            <a:off x="711200" y="609600"/>
            <a:ext cx="9245600" cy="304800"/>
          </a:xfrm>
          <a:prstGeom prst="rect">
            <a:avLst/>
          </a:prstGeom>
        </p:spPr>
        <p:txBody>
          <a:bodyPr/>
          <a:lstStyle>
            <a:lvl1pPr>
              <a:buNone/>
              <a:defRPr lang="en-US" sz="2000" b="0" kern="120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Dominion_Energy®_Horizontal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840" y="155735"/>
            <a:ext cx="2194560" cy="758667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6519672"/>
            <a:ext cx="609600" cy="338328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latin typeface="+mj-lt"/>
              </a:defRPr>
            </a:lvl1pPr>
          </a:lstStyle>
          <a:p>
            <a:fld id="{8B29BB26-853B-47B6-989C-FFE98E2A2CB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r>
              <a:rPr lang="en-US" dirty="0">
                <a:solidFill>
                  <a:prstClr val="white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296735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097280"/>
          </a:xfrm>
          <a:prstGeom prst="rect">
            <a:avLst/>
          </a:prstGeom>
          <a:solidFill>
            <a:schemeClr val="bg1">
              <a:lumMod val="8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6519672"/>
            <a:ext cx="12192000" cy="338328"/>
          </a:xfrm>
          <a:prstGeom prst="rect">
            <a:avLst/>
          </a:prstGeom>
          <a:solidFill>
            <a:srgbClr val="00437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76200"/>
            <a:ext cx="9956800" cy="533400"/>
          </a:xfrm>
          <a:prstGeom prst="rect">
            <a:avLst/>
          </a:prstGeom>
        </p:spPr>
        <p:txBody>
          <a:bodyPr lIns="91429" tIns="45714" rIns="91429" bIns="45714"/>
          <a:lstStyle>
            <a:lvl1pPr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11582400" cy="4953000"/>
          </a:xfrm>
          <a:prstGeom prst="rect">
            <a:avLst/>
          </a:prstGeom>
        </p:spPr>
        <p:txBody>
          <a:bodyPr/>
          <a:lstStyle>
            <a:lvl1pPr>
              <a:buClrTx/>
              <a:buFont typeface="Calibri" pitchFamily="34" charset="0"/>
              <a:buChar char="–"/>
              <a:defRPr sz="2600" b="1">
                <a:latin typeface="+mj-lt"/>
              </a:defRPr>
            </a:lvl1pPr>
            <a:lvl2pPr>
              <a:buClr>
                <a:srgbClr val="0070C0"/>
              </a:buClr>
              <a:buFont typeface="Arial" pitchFamily="34" charset="0"/>
              <a:buChar char="•"/>
              <a:defRPr lang="en-US" sz="2200" kern="120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haroni" pitchFamily="2" charset="-79"/>
              </a:defRPr>
            </a:lvl2pPr>
            <a:lvl3pPr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  <a:defRPr lang="en-US" sz="2000" kern="1200" baseline="0" dirty="0" smtClean="0">
                <a:solidFill>
                  <a:srgbClr val="0070C0"/>
                </a:solidFill>
                <a:latin typeface="+mj-lt"/>
                <a:ea typeface="+mn-ea"/>
                <a:cs typeface="Aharoni" pitchFamily="2" charset="-79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1142867" lvl="2" indent="-228573" algn="l" defTabSz="914293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§"/>
            </a:pPr>
            <a:r>
              <a:rPr lang="en-US" dirty="0"/>
              <a:t>Thir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1143000"/>
            <a:ext cx="12192000" cy="0"/>
          </a:xfrm>
          <a:prstGeom prst="line">
            <a:avLst/>
          </a:prstGeom>
          <a:ln w="88900">
            <a:solidFill>
              <a:srgbClr val="0043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ubtitle Placeholder 1"/>
          <p:cNvSpPr>
            <a:spLocks noGrp="1"/>
          </p:cNvSpPr>
          <p:nvPr>
            <p:ph type="body" sz="quarter" idx="14"/>
          </p:nvPr>
        </p:nvSpPr>
        <p:spPr>
          <a:xfrm>
            <a:off x="711200" y="609600"/>
            <a:ext cx="9245600" cy="304800"/>
          </a:xfrm>
          <a:prstGeom prst="rect">
            <a:avLst/>
          </a:prstGeom>
        </p:spPr>
        <p:txBody>
          <a:bodyPr/>
          <a:lstStyle>
            <a:lvl1pPr>
              <a:buNone/>
              <a:defRPr lang="en-US" sz="2000" b="0" kern="120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Dominion_Energy®_Horizontal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840" y="155735"/>
            <a:ext cx="2194560" cy="758667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6519672"/>
            <a:ext cx="609600" cy="338328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latin typeface="+mj-lt"/>
              </a:defRPr>
            </a:lvl1pPr>
          </a:lstStyle>
          <a:p>
            <a:fld id="{8B29BB26-853B-47B6-989C-FFE98E2A2CB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r>
              <a:rPr lang="en-US" dirty="0">
                <a:solidFill>
                  <a:prstClr val="white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6323039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097280"/>
          </a:xfrm>
          <a:prstGeom prst="rect">
            <a:avLst/>
          </a:prstGeom>
          <a:solidFill>
            <a:schemeClr val="bg1">
              <a:lumMod val="8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6519672"/>
            <a:ext cx="12192000" cy="338328"/>
          </a:xfrm>
          <a:prstGeom prst="rect">
            <a:avLst/>
          </a:prstGeom>
          <a:solidFill>
            <a:srgbClr val="00437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76200"/>
            <a:ext cx="9956800" cy="533400"/>
          </a:xfrm>
          <a:prstGeom prst="rect">
            <a:avLst/>
          </a:prstGeom>
        </p:spPr>
        <p:txBody>
          <a:bodyPr lIns="91429" tIns="45714" rIns="91429" bIns="45714"/>
          <a:lstStyle>
            <a:lvl1pPr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11582400" cy="4953000"/>
          </a:xfrm>
          <a:prstGeom prst="rect">
            <a:avLst/>
          </a:prstGeom>
        </p:spPr>
        <p:txBody>
          <a:bodyPr/>
          <a:lstStyle>
            <a:lvl1pPr>
              <a:buClrTx/>
              <a:buFont typeface="Calibri" pitchFamily="34" charset="0"/>
              <a:buChar char="–"/>
              <a:defRPr sz="2600" b="1">
                <a:latin typeface="+mj-lt"/>
              </a:defRPr>
            </a:lvl1pPr>
            <a:lvl2pPr>
              <a:buClr>
                <a:srgbClr val="0070C0"/>
              </a:buClr>
              <a:buFont typeface="Arial" pitchFamily="34" charset="0"/>
              <a:buChar char="•"/>
              <a:defRPr lang="en-US" sz="2200" kern="120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haroni" pitchFamily="2" charset="-79"/>
              </a:defRPr>
            </a:lvl2pPr>
            <a:lvl3pPr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  <a:defRPr lang="en-US" sz="2000" kern="1200" baseline="0" dirty="0" smtClean="0">
                <a:solidFill>
                  <a:srgbClr val="0070C0"/>
                </a:solidFill>
                <a:latin typeface="+mj-lt"/>
                <a:ea typeface="+mn-ea"/>
                <a:cs typeface="Aharoni" pitchFamily="2" charset="-79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1142867" lvl="2" indent="-228573" algn="l" defTabSz="914293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§"/>
            </a:pPr>
            <a:r>
              <a:rPr lang="en-US" dirty="0"/>
              <a:t>Thir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1143000"/>
            <a:ext cx="12192000" cy="0"/>
          </a:xfrm>
          <a:prstGeom prst="line">
            <a:avLst/>
          </a:prstGeom>
          <a:ln w="88900">
            <a:solidFill>
              <a:srgbClr val="0043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ubtitle Placeholder 1"/>
          <p:cNvSpPr>
            <a:spLocks noGrp="1"/>
          </p:cNvSpPr>
          <p:nvPr>
            <p:ph type="body" sz="quarter" idx="14"/>
          </p:nvPr>
        </p:nvSpPr>
        <p:spPr>
          <a:xfrm>
            <a:off x="711200" y="609600"/>
            <a:ext cx="9245600" cy="304800"/>
          </a:xfrm>
          <a:prstGeom prst="rect">
            <a:avLst/>
          </a:prstGeom>
        </p:spPr>
        <p:txBody>
          <a:bodyPr/>
          <a:lstStyle>
            <a:lvl1pPr>
              <a:buNone/>
              <a:defRPr lang="en-US" sz="2000" b="0" kern="120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Dominion_Energy®_Horizontal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840" y="155735"/>
            <a:ext cx="2194560" cy="758667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6519672"/>
            <a:ext cx="609600" cy="338328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latin typeface="+mj-lt"/>
              </a:defRPr>
            </a:lvl1pPr>
          </a:lstStyle>
          <a:p>
            <a:fld id="{8B29BB26-853B-47B6-989C-FFE98E2A2CB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r>
              <a:rPr lang="en-US" dirty="0">
                <a:solidFill>
                  <a:prstClr val="white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4147702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097280"/>
          </a:xfrm>
          <a:prstGeom prst="rect">
            <a:avLst/>
          </a:prstGeom>
          <a:solidFill>
            <a:schemeClr val="bg1">
              <a:lumMod val="8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6519672"/>
            <a:ext cx="12192000" cy="338328"/>
          </a:xfrm>
          <a:prstGeom prst="rect">
            <a:avLst/>
          </a:prstGeom>
          <a:solidFill>
            <a:srgbClr val="00437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76200"/>
            <a:ext cx="9956800" cy="533400"/>
          </a:xfrm>
          <a:prstGeom prst="rect">
            <a:avLst/>
          </a:prstGeom>
        </p:spPr>
        <p:txBody>
          <a:bodyPr lIns="91429" tIns="45714" rIns="91429" bIns="45714"/>
          <a:lstStyle>
            <a:lvl1pPr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11582400" cy="4953000"/>
          </a:xfrm>
          <a:prstGeom prst="rect">
            <a:avLst/>
          </a:prstGeom>
        </p:spPr>
        <p:txBody>
          <a:bodyPr/>
          <a:lstStyle>
            <a:lvl1pPr>
              <a:buClrTx/>
              <a:buFont typeface="Calibri" pitchFamily="34" charset="0"/>
              <a:buChar char="–"/>
              <a:defRPr sz="2600" b="1">
                <a:latin typeface="+mj-lt"/>
              </a:defRPr>
            </a:lvl1pPr>
            <a:lvl2pPr>
              <a:buClr>
                <a:srgbClr val="0070C0"/>
              </a:buClr>
              <a:buFont typeface="Arial" pitchFamily="34" charset="0"/>
              <a:buChar char="•"/>
              <a:defRPr lang="en-US" sz="2200" kern="120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haroni" pitchFamily="2" charset="-79"/>
              </a:defRPr>
            </a:lvl2pPr>
            <a:lvl3pPr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  <a:defRPr lang="en-US" sz="2000" kern="1200" baseline="0" dirty="0" smtClean="0">
                <a:solidFill>
                  <a:srgbClr val="0070C0"/>
                </a:solidFill>
                <a:latin typeface="+mj-lt"/>
                <a:ea typeface="+mn-ea"/>
                <a:cs typeface="Aharoni" pitchFamily="2" charset="-79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1142867" lvl="2" indent="-228573" algn="l" defTabSz="914293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§"/>
            </a:pPr>
            <a:r>
              <a:rPr lang="en-US" dirty="0"/>
              <a:t>Thir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1143000"/>
            <a:ext cx="12192000" cy="0"/>
          </a:xfrm>
          <a:prstGeom prst="line">
            <a:avLst/>
          </a:prstGeom>
          <a:ln w="88900">
            <a:solidFill>
              <a:srgbClr val="0043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ubtitle Placeholder 1"/>
          <p:cNvSpPr>
            <a:spLocks noGrp="1"/>
          </p:cNvSpPr>
          <p:nvPr>
            <p:ph type="body" sz="quarter" idx="14"/>
          </p:nvPr>
        </p:nvSpPr>
        <p:spPr>
          <a:xfrm>
            <a:off x="711200" y="609600"/>
            <a:ext cx="9245600" cy="304800"/>
          </a:xfrm>
          <a:prstGeom prst="rect">
            <a:avLst/>
          </a:prstGeom>
        </p:spPr>
        <p:txBody>
          <a:bodyPr/>
          <a:lstStyle>
            <a:lvl1pPr>
              <a:buNone/>
              <a:defRPr lang="en-US" sz="2000" b="0" kern="120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Dominion_Energy®_Horizontal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840" y="155735"/>
            <a:ext cx="2194560" cy="758667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6519672"/>
            <a:ext cx="609600" cy="338328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latin typeface="+mj-lt"/>
              </a:defRPr>
            </a:lvl1pPr>
          </a:lstStyle>
          <a:p>
            <a:fld id="{8B29BB26-853B-47B6-989C-FFE98E2A2CB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r>
              <a:rPr lang="en-US" dirty="0">
                <a:solidFill>
                  <a:prstClr val="white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950153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D2CA9-4A4A-479D-8A6D-DB9B26D72CD9}" type="datetimeFigureOut">
              <a:rPr lang="en-US" smtClean="0"/>
              <a:t>9/21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B2140-45F9-443B-BAD4-5C52E792A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8510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097280"/>
          </a:xfrm>
          <a:prstGeom prst="rect">
            <a:avLst/>
          </a:prstGeom>
          <a:solidFill>
            <a:schemeClr val="bg1">
              <a:lumMod val="8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6519672"/>
            <a:ext cx="12192000" cy="338328"/>
          </a:xfrm>
          <a:prstGeom prst="rect">
            <a:avLst/>
          </a:prstGeom>
          <a:solidFill>
            <a:srgbClr val="00437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76200"/>
            <a:ext cx="9956800" cy="533400"/>
          </a:xfrm>
          <a:prstGeom prst="rect">
            <a:avLst/>
          </a:prstGeom>
        </p:spPr>
        <p:txBody>
          <a:bodyPr lIns="91429" tIns="45714" rIns="91429" bIns="45714"/>
          <a:lstStyle>
            <a:lvl1pPr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11582400" cy="4953000"/>
          </a:xfrm>
          <a:prstGeom prst="rect">
            <a:avLst/>
          </a:prstGeom>
        </p:spPr>
        <p:txBody>
          <a:bodyPr/>
          <a:lstStyle>
            <a:lvl1pPr>
              <a:buClrTx/>
              <a:buFont typeface="Calibri" pitchFamily="34" charset="0"/>
              <a:buChar char="–"/>
              <a:defRPr sz="2600" b="1">
                <a:latin typeface="+mj-lt"/>
              </a:defRPr>
            </a:lvl1pPr>
            <a:lvl2pPr>
              <a:buClr>
                <a:srgbClr val="0070C0"/>
              </a:buClr>
              <a:buFont typeface="Arial" pitchFamily="34" charset="0"/>
              <a:buChar char="•"/>
              <a:defRPr lang="en-US" sz="2200" kern="120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haroni" pitchFamily="2" charset="-79"/>
              </a:defRPr>
            </a:lvl2pPr>
            <a:lvl3pPr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  <a:defRPr lang="en-US" sz="2000" kern="1200" baseline="0" dirty="0" smtClean="0">
                <a:solidFill>
                  <a:srgbClr val="0070C0"/>
                </a:solidFill>
                <a:latin typeface="+mj-lt"/>
                <a:ea typeface="+mn-ea"/>
                <a:cs typeface="Aharoni" pitchFamily="2" charset="-79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1142867" lvl="2" indent="-228573" algn="l" defTabSz="914293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§"/>
            </a:pPr>
            <a:r>
              <a:rPr lang="en-US" dirty="0"/>
              <a:t>Thir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1143000"/>
            <a:ext cx="12192000" cy="0"/>
          </a:xfrm>
          <a:prstGeom prst="line">
            <a:avLst/>
          </a:prstGeom>
          <a:ln w="88900">
            <a:solidFill>
              <a:srgbClr val="0043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ubtitle Placeholder 1"/>
          <p:cNvSpPr>
            <a:spLocks noGrp="1"/>
          </p:cNvSpPr>
          <p:nvPr>
            <p:ph type="body" sz="quarter" idx="14"/>
          </p:nvPr>
        </p:nvSpPr>
        <p:spPr>
          <a:xfrm>
            <a:off x="711200" y="609600"/>
            <a:ext cx="9245600" cy="304800"/>
          </a:xfrm>
          <a:prstGeom prst="rect">
            <a:avLst/>
          </a:prstGeom>
        </p:spPr>
        <p:txBody>
          <a:bodyPr/>
          <a:lstStyle>
            <a:lvl1pPr>
              <a:buNone/>
              <a:defRPr lang="en-US" sz="2000" b="0" kern="120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Dominion_Energy®_Horizontal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840" y="155735"/>
            <a:ext cx="2194560" cy="758667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6519672"/>
            <a:ext cx="609600" cy="338328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latin typeface="+mj-lt"/>
              </a:defRPr>
            </a:lvl1pPr>
          </a:lstStyle>
          <a:p>
            <a:fld id="{8B29BB26-853B-47B6-989C-FFE98E2A2CB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r>
              <a:rPr lang="en-US" dirty="0">
                <a:solidFill>
                  <a:prstClr val="white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483557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097280"/>
          </a:xfrm>
          <a:prstGeom prst="rect">
            <a:avLst/>
          </a:prstGeom>
          <a:solidFill>
            <a:schemeClr val="bg1">
              <a:lumMod val="8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6519672"/>
            <a:ext cx="12192000" cy="338328"/>
          </a:xfrm>
          <a:prstGeom prst="rect">
            <a:avLst/>
          </a:prstGeom>
          <a:solidFill>
            <a:srgbClr val="00437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76200"/>
            <a:ext cx="9956800" cy="533400"/>
          </a:xfrm>
          <a:prstGeom prst="rect">
            <a:avLst/>
          </a:prstGeom>
        </p:spPr>
        <p:txBody>
          <a:bodyPr lIns="91429" tIns="45714" rIns="91429" bIns="45714"/>
          <a:lstStyle>
            <a:lvl1pPr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11582400" cy="4953000"/>
          </a:xfrm>
          <a:prstGeom prst="rect">
            <a:avLst/>
          </a:prstGeom>
        </p:spPr>
        <p:txBody>
          <a:bodyPr/>
          <a:lstStyle>
            <a:lvl1pPr>
              <a:buClrTx/>
              <a:buFont typeface="Calibri" pitchFamily="34" charset="0"/>
              <a:buChar char="–"/>
              <a:defRPr sz="2600" b="1">
                <a:latin typeface="+mj-lt"/>
              </a:defRPr>
            </a:lvl1pPr>
            <a:lvl2pPr>
              <a:buClr>
                <a:srgbClr val="0070C0"/>
              </a:buClr>
              <a:buFont typeface="Arial" pitchFamily="34" charset="0"/>
              <a:buChar char="•"/>
              <a:defRPr lang="en-US" sz="2200" kern="120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haroni" pitchFamily="2" charset="-79"/>
              </a:defRPr>
            </a:lvl2pPr>
            <a:lvl3pPr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  <a:defRPr lang="en-US" sz="2000" kern="1200" baseline="0" dirty="0" smtClean="0">
                <a:solidFill>
                  <a:srgbClr val="0070C0"/>
                </a:solidFill>
                <a:latin typeface="+mj-lt"/>
                <a:ea typeface="+mn-ea"/>
                <a:cs typeface="Aharoni" pitchFamily="2" charset="-79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1142867" lvl="2" indent="-228573" algn="l" defTabSz="914293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§"/>
            </a:pPr>
            <a:r>
              <a:rPr lang="en-US" dirty="0"/>
              <a:t>Thir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1143000"/>
            <a:ext cx="12192000" cy="0"/>
          </a:xfrm>
          <a:prstGeom prst="line">
            <a:avLst/>
          </a:prstGeom>
          <a:ln w="88900">
            <a:solidFill>
              <a:srgbClr val="0043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ubtitle Placeholder 1"/>
          <p:cNvSpPr>
            <a:spLocks noGrp="1"/>
          </p:cNvSpPr>
          <p:nvPr>
            <p:ph type="body" sz="quarter" idx="14"/>
          </p:nvPr>
        </p:nvSpPr>
        <p:spPr>
          <a:xfrm>
            <a:off x="711200" y="609600"/>
            <a:ext cx="9245600" cy="304800"/>
          </a:xfrm>
          <a:prstGeom prst="rect">
            <a:avLst/>
          </a:prstGeom>
        </p:spPr>
        <p:txBody>
          <a:bodyPr/>
          <a:lstStyle>
            <a:lvl1pPr>
              <a:buNone/>
              <a:defRPr lang="en-US" sz="2000" b="0" kern="120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Dominion_Energy®_Horizontal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840" y="155735"/>
            <a:ext cx="2194560" cy="758667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6519672"/>
            <a:ext cx="609600" cy="338328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latin typeface="+mj-lt"/>
              </a:defRPr>
            </a:lvl1pPr>
          </a:lstStyle>
          <a:p>
            <a:fld id="{8B29BB26-853B-47B6-989C-FFE98E2A2CB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r>
              <a:rPr lang="en-US" dirty="0">
                <a:solidFill>
                  <a:prstClr val="white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3468661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1097280"/>
          </a:xfrm>
          <a:prstGeom prst="rect">
            <a:avLst/>
          </a:prstGeom>
          <a:solidFill>
            <a:schemeClr val="bg1">
              <a:lumMod val="8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6519672"/>
            <a:ext cx="12192000" cy="338328"/>
          </a:xfrm>
          <a:prstGeom prst="rect">
            <a:avLst/>
          </a:prstGeom>
          <a:solidFill>
            <a:srgbClr val="00437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4" rIns="91429" bIns="45714"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0" y="76200"/>
            <a:ext cx="9956800" cy="533400"/>
          </a:xfrm>
          <a:prstGeom prst="rect">
            <a:avLst/>
          </a:prstGeom>
        </p:spPr>
        <p:txBody>
          <a:bodyPr lIns="91429" tIns="45714" rIns="91429" bIns="45714"/>
          <a:lstStyle>
            <a:lvl1pPr>
              <a:defRPr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11582400" cy="4953000"/>
          </a:xfrm>
          <a:prstGeom prst="rect">
            <a:avLst/>
          </a:prstGeom>
        </p:spPr>
        <p:txBody>
          <a:bodyPr/>
          <a:lstStyle>
            <a:lvl1pPr>
              <a:buClrTx/>
              <a:buFont typeface="Calibri" pitchFamily="34" charset="0"/>
              <a:buChar char="–"/>
              <a:defRPr sz="2600" b="1">
                <a:latin typeface="+mj-lt"/>
              </a:defRPr>
            </a:lvl1pPr>
            <a:lvl2pPr>
              <a:buClr>
                <a:srgbClr val="0070C0"/>
              </a:buClr>
              <a:buFont typeface="Arial" pitchFamily="34" charset="0"/>
              <a:buChar char="•"/>
              <a:defRPr lang="en-US" sz="2200" kern="120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haroni" pitchFamily="2" charset="-79"/>
              </a:defRPr>
            </a:lvl2pPr>
            <a:lvl3pPr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  <a:defRPr lang="en-US" sz="2000" kern="1200" baseline="0" dirty="0" smtClean="0">
                <a:solidFill>
                  <a:srgbClr val="0070C0"/>
                </a:solidFill>
                <a:latin typeface="+mj-lt"/>
                <a:ea typeface="+mn-ea"/>
                <a:cs typeface="Aharoni" pitchFamily="2" charset="-79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1142867" lvl="2" indent="-228573" algn="l" defTabSz="914293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§"/>
            </a:pPr>
            <a:r>
              <a:rPr lang="en-US" dirty="0"/>
              <a:t>Thir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1143000"/>
            <a:ext cx="12192000" cy="0"/>
          </a:xfrm>
          <a:prstGeom prst="line">
            <a:avLst/>
          </a:prstGeom>
          <a:ln w="88900">
            <a:solidFill>
              <a:srgbClr val="0043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ubtitle Placeholder 1"/>
          <p:cNvSpPr>
            <a:spLocks noGrp="1"/>
          </p:cNvSpPr>
          <p:nvPr>
            <p:ph type="body" sz="quarter" idx="14"/>
          </p:nvPr>
        </p:nvSpPr>
        <p:spPr>
          <a:xfrm>
            <a:off x="711200" y="609600"/>
            <a:ext cx="9245600" cy="304800"/>
          </a:xfrm>
          <a:prstGeom prst="rect">
            <a:avLst/>
          </a:prstGeom>
        </p:spPr>
        <p:txBody>
          <a:bodyPr/>
          <a:lstStyle>
            <a:lvl1pPr>
              <a:buNone/>
              <a:defRPr lang="en-US" sz="2000" b="0" kern="120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Dominion_Energy®_Horizontal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840" y="155735"/>
            <a:ext cx="2194560" cy="758667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6519672"/>
            <a:ext cx="609600" cy="338328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latin typeface="+mj-lt"/>
              </a:defRPr>
            </a:lvl1pPr>
          </a:lstStyle>
          <a:p>
            <a:fld id="{8B29BB26-853B-47B6-989C-FFE98E2A2CB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r>
              <a:rPr lang="en-US" dirty="0">
                <a:solidFill>
                  <a:prstClr val="white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285782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D2CA9-4A4A-479D-8A6D-DB9B26D72CD9}" type="datetimeFigureOut">
              <a:rPr lang="en-US" smtClean="0"/>
              <a:t>9/2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B2140-45F9-443B-BAD4-5C52E792A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5079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D2CA9-4A4A-479D-8A6D-DB9B26D72CD9}" type="datetimeFigureOut">
              <a:rPr lang="en-US" smtClean="0"/>
              <a:t>9/21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B2140-45F9-443B-BAD4-5C52E792A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42754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image" Target="../media/image18.emf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61.xml"/><Relationship Id="rId16" Type="http://schemas.openxmlformats.org/officeDocument/2006/relationships/tags" Target="../tags/tag1.xml"/><Relationship Id="rId20" Type="http://schemas.openxmlformats.org/officeDocument/2006/relationships/image" Target="../media/image20.png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69.xml"/><Relationship Id="rId19" Type="http://schemas.openxmlformats.org/officeDocument/2006/relationships/image" Target="../media/image19.png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ED2CA9-4A4A-479D-8A6D-DB9B26D72CD9}" type="datetimeFigureOut">
              <a:rPr lang="en-US" smtClean="0"/>
              <a:t>9/21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FB2140-45F9-443B-BAD4-5C52E792A3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846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700" cy="7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700"/>
              <a:buNone/>
              <a:defRPr sz="37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7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lvl1pPr marL="457200" lvl="0" indent="-3810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Char char="●"/>
              <a:defRPr sz="2400">
                <a:solidFill>
                  <a:schemeClr val="dk2"/>
                </a:solidFill>
              </a:defRPr>
            </a:lvl1pPr>
            <a:lvl2pPr marL="914400" lvl="1" indent="-34925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Char char="○"/>
              <a:defRPr sz="1900">
                <a:solidFill>
                  <a:schemeClr val="dk2"/>
                </a:solidFill>
              </a:defRPr>
            </a:lvl2pPr>
            <a:lvl3pPr marL="1371600" lvl="2" indent="-34925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Char char="■"/>
              <a:defRPr sz="1900">
                <a:solidFill>
                  <a:schemeClr val="dk2"/>
                </a:solidFill>
              </a:defRPr>
            </a:lvl3pPr>
            <a:lvl4pPr marL="1828800" lvl="3" indent="-34925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Char char="●"/>
              <a:defRPr sz="1900">
                <a:solidFill>
                  <a:schemeClr val="dk2"/>
                </a:solidFill>
              </a:defRPr>
            </a:lvl4pPr>
            <a:lvl5pPr marL="2286000" lvl="4" indent="-34925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Char char="○"/>
              <a:defRPr sz="1900">
                <a:solidFill>
                  <a:schemeClr val="dk2"/>
                </a:solidFill>
              </a:defRPr>
            </a:lvl5pPr>
            <a:lvl6pPr marL="2743200" lvl="5" indent="-34925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Char char="■"/>
              <a:defRPr sz="1900">
                <a:solidFill>
                  <a:schemeClr val="dk2"/>
                </a:solidFill>
              </a:defRPr>
            </a:lvl6pPr>
            <a:lvl7pPr marL="3200400" lvl="6" indent="-34925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Char char="●"/>
              <a:defRPr sz="1900">
                <a:solidFill>
                  <a:schemeClr val="dk2"/>
                </a:solidFill>
              </a:defRPr>
            </a:lvl7pPr>
            <a:lvl8pPr marL="3657600" lvl="7" indent="-34925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Char char="○"/>
              <a:defRPr sz="1900">
                <a:solidFill>
                  <a:schemeClr val="dk2"/>
                </a:solidFill>
              </a:defRPr>
            </a:lvl8pPr>
            <a:lvl9pPr marL="4114800" lvl="8" indent="-349250">
              <a:lnSpc>
                <a:spcPct val="115000"/>
              </a:lnSpc>
              <a:spcBef>
                <a:spcPts val="2100"/>
              </a:spcBef>
              <a:spcAft>
                <a:spcPts val="2100"/>
              </a:spcAft>
              <a:buClr>
                <a:schemeClr val="dk2"/>
              </a:buClr>
              <a:buSzPts val="1900"/>
              <a:buChar char="■"/>
              <a:defRPr sz="19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sldNum" idx="12"/>
          </p:nvPr>
        </p:nvSpPr>
        <p:spPr>
          <a:xfrm>
            <a:off x="11296610" y="6217622"/>
            <a:ext cx="7317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 algn="r">
              <a:buNone/>
              <a:defRPr sz="1300">
                <a:solidFill>
                  <a:schemeClr val="dk2"/>
                </a:solidFill>
              </a:defRPr>
            </a:lvl1pPr>
            <a:lvl2pPr lvl="1" algn="r">
              <a:buNone/>
              <a:defRPr sz="1300">
                <a:solidFill>
                  <a:schemeClr val="dk2"/>
                </a:solidFill>
              </a:defRPr>
            </a:lvl2pPr>
            <a:lvl3pPr lvl="2" algn="r">
              <a:buNone/>
              <a:defRPr sz="1300">
                <a:solidFill>
                  <a:schemeClr val="dk2"/>
                </a:solidFill>
              </a:defRPr>
            </a:lvl3pPr>
            <a:lvl4pPr lvl="3" algn="r">
              <a:buNone/>
              <a:defRPr sz="1300">
                <a:solidFill>
                  <a:schemeClr val="dk2"/>
                </a:solidFill>
              </a:defRPr>
            </a:lvl4pPr>
            <a:lvl5pPr lvl="4" algn="r">
              <a:buNone/>
              <a:defRPr sz="1300">
                <a:solidFill>
                  <a:schemeClr val="dk2"/>
                </a:solidFill>
              </a:defRPr>
            </a:lvl5pPr>
            <a:lvl6pPr lvl="5" algn="r">
              <a:buNone/>
              <a:defRPr sz="1300">
                <a:solidFill>
                  <a:schemeClr val="dk2"/>
                </a:solidFill>
              </a:defRPr>
            </a:lvl6pPr>
            <a:lvl7pPr lvl="6" algn="r">
              <a:buNone/>
              <a:defRPr sz="1300">
                <a:solidFill>
                  <a:schemeClr val="dk2"/>
                </a:solidFill>
              </a:defRPr>
            </a:lvl7pPr>
            <a:lvl8pPr lvl="7" algn="r">
              <a:buNone/>
              <a:defRPr sz="1300">
                <a:solidFill>
                  <a:schemeClr val="dk2"/>
                </a:solidFill>
              </a:defRPr>
            </a:lvl8pPr>
            <a:lvl9pPr lvl="8" algn="r">
              <a:buNone/>
              <a:defRPr sz="13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6002160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75F87C8-F26C-564B-AE3E-C80EAAD28E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700852-2314-F349-BCB9-686074634A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E72894F-159C-9241-9075-57FC4D44F27F}"/>
              </a:ext>
            </a:extLst>
          </p:cNvPr>
          <p:cNvSpPr txBox="1">
            <a:spLocks/>
          </p:cNvSpPr>
          <p:nvPr userDrawn="1"/>
        </p:nvSpPr>
        <p:spPr>
          <a:xfrm>
            <a:off x="11445240" y="6397913"/>
            <a:ext cx="57496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F3FD8DC-1549-8049-AC02-125FB22E72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801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rgbClr val="003C5B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3C5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03C5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3C5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3C5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3C5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C29AEA-5D11-4D26-A42B-F705136A12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C29AEA-5D11-4D26-A42B-F705136A12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757070"/>
            <a:ext cx="11582400" cy="391183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304800" y="6372832"/>
            <a:ext cx="11582400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77571" y="6457773"/>
            <a:ext cx="312767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>
              <a:defRPr sz="1000" b="1">
                <a:solidFill>
                  <a:schemeClr val="tx1"/>
                </a:solidFill>
                <a:latin typeface="Arial"/>
              </a:defRPr>
            </a:lvl1pPr>
          </a:lstStyle>
          <a:p>
            <a:fld id="{AEDA1C9F-493B-1949-8986-469B5A47FFD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217" name="Picture 169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012940" y="633349"/>
            <a:ext cx="6493933" cy="503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Dominion_Energy®_Horizontal_RGB.png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5840" y="155735"/>
            <a:ext cx="2194560" cy="758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524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</p:sldLayoutIdLst>
  <p:hf sldNum="0" hdr="0" ftr="0" dt="0"/>
  <p:txStyles>
    <p:titleStyle>
      <a:lvl1pPr algn="l" defTabSz="457146" rtl="0" eaLnBrk="1" latinLnBrk="0" hangingPunct="1">
        <a:spcBef>
          <a:spcPct val="0"/>
        </a:spcBef>
        <a:buNone/>
        <a:defRPr sz="2200" b="1" i="0" kern="1200">
          <a:solidFill>
            <a:schemeClr val="tx1"/>
          </a:solidFill>
          <a:latin typeface="Rockwell"/>
          <a:ea typeface="+mj-ea"/>
          <a:cs typeface="+mj-cs"/>
        </a:defRPr>
      </a:lvl1pPr>
    </p:titleStyle>
    <p:bodyStyle>
      <a:lvl1pPr marL="342860" indent="-342860" algn="l" defTabSz="457146" rtl="0" eaLnBrk="1" latinLnBrk="0" hangingPunct="1">
        <a:spcBef>
          <a:spcPct val="20000"/>
        </a:spcBef>
        <a:buFont typeface="Arial"/>
        <a:buChar char="•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863" indent="-285717" algn="l" defTabSz="457146" rtl="0" eaLnBrk="1" latinLnBrk="0" hangingPunct="1">
        <a:spcBef>
          <a:spcPct val="20000"/>
        </a:spcBef>
        <a:buFont typeface="Arial"/>
        <a:buChar char="–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867" indent="-228573" algn="l" defTabSz="457146" rtl="0" eaLnBrk="1" latinLnBrk="0" hangingPunct="1">
        <a:spcBef>
          <a:spcPct val="20000"/>
        </a:spcBef>
        <a:buFont typeface="Arial"/>
        <a:buChar char="•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013" indent="-228573" algn="l" defTabSz="457146" rtl="0" eaLnBrk="1" latinLnBrk="0" hangingPunct="1">
        <a:spcBef>
          <a:spcPct val="20000"/>
        </a:spcBef>
        <a:buFont typeface="Arial"/>
        <a:buChar char="–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159" indent="-228573" algn="l" defTabSz="457146" rtl="0" eaLnBrk="1" latinLnBrk="0" hangingPunct="1">
        <a:spcBef>
          <a:spcPct val="20000"/>
        </a:spcBef>
        <a:buFont typeface="Arial"/>
        <a:buChar char="»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306" indent="-228573" algn="l" defTabSz="45714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53" indent="-228573" algn="l" defTabSz="45714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99" indent="-228573" algn="l" defTabSz="45714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46" indent="-228573" algn="l" defTabSz="45714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4571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7.jpeg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5.jpg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7.jp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2.xml"/><Relationship Id="rId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1.xml"/><Relationship Id="rId4" Type="http://schemas.openxmlformats.org/officeDocument/2006/relationships/image" Target="../media/image31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1.xml"/><Relationship Id="rId5" Type="http://schemas.openxmlformats.org/officeDocument/2006/relationships/image" Target="../media/image34.jpg"/><Relationship Id="rId4" Type="http://schemas.openxmlformats.org/officeDocument/2006/relationships/image" Target="../media/image33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1.xml"/><Relationship Id="rId4" Type="http://schemas.openxmlformats.org/officeDocument/2006/relationships/image" Target="../media/image3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11201"/>
            <a:ext cx="12192000" cy="756920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191229" y="1634833"/>
            <a:ext cx="532442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Virginia is all in for Offshore Wind</a:t>
            </a:r>
            <a:endParaRPr kumimoji="0" lang="en-US" sz="4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871569" y="6611779"/>
            <a:ext cx="3204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42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46" y="5156078"/>
            <a:ext cx="2590800" cy="14557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789451" y="5719226"/>
            <a:ext cx="4242333" cy="1015663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Jennifer K. Palestran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Chief Deputy, 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DMM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jennifer.palestrant@dmme.virginia.gov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3326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Google Shape;1031;p114"/>
          <p:cNvSpPr txBox="1">
            <a:spLocks noGrp="1"/>
          </p:cNvSpPr>
          <p:nvPr>
            <p:ph type="ctrTitle"/>
          </p:nvPr>
        </p:nvSpPr>
        <p:spPr>
          <a:xfrm>
            <a:off x="1355667" y="168446"/>
            <a:ext cx="10095346" cy="88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7D0"/>
              </a:buClr>
              <a:buSzPts val="4400"/>
              <a:buFont typeface="Rockwell"/>
              <a:buNone/>
            </a:pPr>
            <a:r>
              <a:rPr lang="en-US" sz="5000" b="1" dirty="0" smtClean="0">
                <a:solidFill>
                  <a:srgbClr val="0077D0"/>
                </a:solidFill>
                <a:latin typeface="+mn-lt"/>
                <a:ea typeface="Rockwell"/>
                <a:cs typeface="Rockwell"/>
                <a:sym typeface="Rockwell"/>
              </a:rPr>
              <a:t>Transmission</a:t>
            </a:r>
            <a:endParaRPr sz="5000" b="1" dirty="0">
              <a:solidFill>
                <a:srgbClr val="0077D0"/>
              </a:solidFill>
              <a:latin typeface="+mn-lt"/>
              <a:ea typeface="Rockwell"/>
              <a:cs typeface="Rockwell"/>
              <a:sym typeface="Rockwell"/>
            </a:endParaRPr>
          </a:p>
        </p:txBody>
      </p:sp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190984" y="1160754"/>
            <a:ext cx="6791707" cy="4351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lvl="0" indent="-285750" algn="l" rtl="0">
              <a:lnSpc>
                <a:spcPct val="7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220"/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chemeClr val="tx1"/>
                </a:solidFill>
              </a:rPr>
              <a:t>The interconnection requests have been submitted to PJM for both the Kitty Hawk and Dominion projects.</a:t>
            </a:r>
          </a:p>
          <a:p>
            <a:pPr marL="285750" lvl="0" indent="-285750" algn="l" rtl="0">
              <a:lnSpc>
                <a:spcPct val="7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220"/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chemeClr val="tx1"/>
                </a:solidFill>
              </a:rPr>
              <a:t>The power for Kitty Hawk will come ashore in Virginia Beach due to the low population density in northeastern North Carolina.</a:t>
            </a:r>
          </a:p>
          <a:p>
            <a:pPr marL="285750" indent="-285750" algn="l">
              <a:lnSpc>
                <a:spcPct val="70000"/>
              </a:lnSpc>
              <a:spcBef>
                <a:spcPts val="1000"/>
              </a:spcBef>
              <a:buClr>
                <a:schemeClr val="dk1"/>
              </a:buClr>
              <a:buSzPts val="2220"/>
              <a:buFont typeface="Arial" panose="020B0604020202020204" pitchFamily="34" charset="0"/>
              <a:buChar char="•"/>
            </a:pPr>
            <a:r>
              <a:rPr lang="en-US" sz="2300" dirty="0">
                <a:solidFill>
                  <a:schemeClr val="tx1"/>
                </a:solidFill>
              </a:rPr>
              <a:t>B</a:t>
            </a:r>
            <a:r>
              <a:rPr lang="en-US" sz="2300" dirty="0" smtClean="0">
                <a:solidFill>
                  <a:schemeClr val="tx1"/>
                </a:solidFill>
              </a:rPr>
              <a:t>eing home to 90 federal facilities including the east coast master jet base and the largest navy base in the world, we have plenty of power to go around.</a:t>
            </a:r>
          </a:p>
          <a:p>
            <a:pPr marL="285750" indent="-285750" algn="l">
              <a:lnSpc>
                <a:spcPct val="70000"/>
              </a:lnSpc>
              <a:spcBef>
                <a:spcPts val="1000"/>
              </a:spcBef>
              <a:buClr>
                <a:schemeClr val="dk1"/>
              </a:buClr>
              <a:buSzPts val="2220"/>
              <a:buFont typeface="Arial" panose="020B0604020202020204" pitchFamily="34" charset="0"/>
              <a:buChar char="•"/>
            </a:pPr>
            <a:r>
              <a:rPr lang="en-US" sz="2300" dirty="0" smtClean="0">
                <a:solidFill>
                  <a:schemeClr val="tx1"/>
                </a:solidFill>
              </a:rPr>
              <a:t>As always, the challenge is where are the choke points for the power as it travels from the coast to Richmond, DC and onward.</a:t>
            </a:r>
            <a:endParaRPr lang="en-US" sz="2300" dirty="0">
              <a:solidFill>
                <a:schemeClr val="tx1"/>
              </a:solidFill>
            </a:endParaRPr>
          </a:p>
        </p:txBody>
      </p:sp>
      <p:sp>
        <p:nvSpPr>
          <p:cNvPr id="1033" name="Google Shape;1033;p114"/>
          <p:cNvSpPr txBox="1"/>
          <p:nvPr/>
        </p:nvSpPr>
        <p:spPr>
          <a:xfrm>
            <a:off x="0" y="5669280"/>
            <a:ext cx="12192000" cy="1188720"/>
          </a:xfrm>
          <a:prstGeom prst="rect">
            <a:avLst/>
          </a:prstGeom>
          <a:solidFill>
            <a:srgbClr val="0077D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34" name="Google Shape;1034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96600" y="5768340"/>
            <a:ext cx="990600" cy="990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5" name="Google Shape;1035;p114"/>
          <p:cNvPicPr preferRelativeResize="0"/>
          <p:nvPr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4013" y="5826484"/>
            <a:ext cx="1556068" cy="87431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</p:pic>
      <p:sp>
        <p:nvSpPr>
          <p:cNvPr id="1036" name="Google Shape;1036;p114"/>
          <p:cNvSpPr txBox="1"/>
          <p:nvPr/>
        </p:nvSpPr>
        <p:spPr>
          <a:xfrm>
            <a:off x="4655820" y="5780488"/>
            <a:ext cx="3495040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  <a:tabLst/>
              <a:defRPr/>
            </a:pPr>
            <a:r>
              <a:rPr kumimoji="0" lang="en-US" sz="3000" b="1" i="1" u="none" strike="noStrike" kern="0" cap="sm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lean Energy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  <a:tabLst/>
              <a:defRPr/>
            </a:pPr>
            <a:r>
              <a:rPr kumimoji="0" lang="en-US" sz="3000" b="1" i="1" u="none" strike="noStrike" kern="0" cap="sm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irginia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8053" y="1616818"/>
            <a:ext cx="4446783" cy="3113021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90900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Google Shape;1031;p114"/>
          <p:cNvSpPr txBox="1">
            <a:spLocks noGrp="1"/>
          </p:cNvSpPr>
          <p:nvPr>
            <p:ph type="ctrTitle"/>
          </p:nvPr>
        </p:nvSpPr>
        <p:spPr>
          <a:xfrm>
            <a:off x="1355667" y="168446"/>
            <a:ext cx="10095346" cy="88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77D0"/>
              </a:buClr>
              <a:buSzPts val="4400"/>
              <a:buFont typeface="Rockwell"/>
              <a:buNone/>
            </a:pPr>
            <a:r>
              <a:rPr lang="en-US" sz="4400" b="1" dirty="0" smtClean="0">
                <a:solidFill>
                  <a:srgbClr val="0077D0"/>
                </a:solidFill>
                <a:latin typeface="Rockwell"/>
                <a:ea typeface="Rockwell"/>
                <a:cs typeface="Rockwell"/>
                <a:sym typeface="Rockwell"/>
              </a:rPr>
              <a:t>2020 Virginia </a:t>
            </a:r>
            <a:r>
              <a:rPr lang="en-US" sz="4400" b="1" dirty="0">
                <a:solidFill>
                  <a:srgbClr val="0077D0"/>
                </a:solidFill>
                <a:latin typeface="Rockwell"/>
                <a:ea typeface="Rockwell"/>
                <a:cs typeface="Rockwell"/>
                <a:sym typeface="Rockwell"/>
              </a:rPr>
              <a:t>Clean Economy Act</a:t>
            </a:r>
            <a:endParaRPr sz="4400" b="1" dirty="0">
              <a:solidFill>
                <a:srgbClr val="0077D0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sp>
        <p:nvSpPr>
          <p:cNvPr id="1032" name="Google Shape;1032;p114"/>
          <p:cNvSpPr txBox="1">
            <a:spLocks noGrp="1"/>
          </p:cNvSpPr>
          <p:nvPr>
            <p:ph type="subTitle" idx="1"/>
          </p:nvPr>
        </p:nvSpPr>
        <p:spPr>
          <a:xfrm>
            <a:off x="255639" y="1252813"/>
            <a:ext cx="7895221" cy="42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00050" lvl="0" indent="-342900" algn="l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434343"/>
              </a:buClr>
              <a:buSzPts val="2700"/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datory renewable portfolio standard (RPS):</a:t>
            </a:r>
            <a:endParaRPr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73152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</a:pPr>
            <a:r>
              <a:rPr lang="en-US" sz="3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40</a:t>
            </a:r>
            <a:r>
              <a:rPr lang="en-US" sz="3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% by 2030; 100% by 2045 </a:t>
            </a:r>
            <a:endParaRPr lang="en-US" sz="30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73152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</a:pPr>
            <a:endParaRPr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514350" lvl="0" indent="-457200" algn="l" rtl="0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>
                <a:srgbClr val="434343"/>
              </a:buClr>
              <a:buSzPts val="2700"/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datory energy efficiency resource standard (EERS):</a:t>
            </a:r>
            <a:endParaRPr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73152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</a:pPr>
            <a:r>
              <a:rPr lang="en-US" sz="30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</a:t>
            </a:r>
            <a:r>
              <a:rPr lang="en-US" sz="30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% by 2025 </a:t>
            </a:r>
            <a:endParaRPr lang="en-US" sz="3000" b="1" i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73152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</a:pPr>
            <a:endParaRPr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514350" lvl="0" indent="-457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434343"/>
              </a:buClr>
              <a:buSzPts val="2700"/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eems </a:t>
            </a: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6,100 MW of solar and onshore wind, 5,200 MW of offshore wind, and 2,700 MW of energy storage in the public interest. </a:t>
            </a:r>
            <a:endParaRPr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lvl="0" indent="0" algn="l" rtl="0">
              <a:lnSpc>
                <a:spcPct val="7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220"/>
              <a:buNone/>
            </a:pPr>
            <a:endParaRPr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33" name="Google Shape;1033;p114"/>
          <p:cNvSpPr txBox="1"/>
          <p:nvPr/>
        </p:nvSpPr>
        <p:spPr>
          <a:xfrm>
            <a:off x="0" y="5669280"/>
            <a:ext cx="12192000" cy="1188720"/>
          </a:xfrm>
          <a:prstGeom prst="rect">
            <a:avLst/>
          </a:prstGeom>
          <a:solidFill>
            <a:srgbClr val="0077D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34" name="Google Shape;1034;p1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96600" y="5768340"/>
            <a:ext cx="990600" cy="990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5" name="Google Shape;1035;p114"/>
          <p:cNvPicPr preferRelativeResize="0"/>
          <p:nvPr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4013" y="5826484"/>
            <a:ext cx="1556068" cy="87431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</p:pic>
      <p:sp>
        <p:nvSpPr>
          <p:cNvPr id="1036" name="Google Shape;1036;p114"/>
          <p:cNvSpPr txBox="1"/>
          <p:nvPr/>
        </p:nvSpPr>
        <p:spPr>
          <a:xfrm>
            <a:off x="4655820" y="5780488"/>
            <a:ext cx="3495040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  <a:tabLst/>
              <a:defRPr/>
            </a:pPr>
            <a:r>
              <a:rPr kumimoji="0" lang="en-US" sz="3000" b="1" i="1" u="none" strike="noStrike" kern="0" cap="sm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lean Energy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  <a:tabLst/>
              <a:defRPr/>
            </a:pPr>
            <a:r>
              <a:rPr kumimoji="0" lang="en-US" sz="3000" b="1" i="1" u="none" strike="noStrike" kern="0" cap="sm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irginia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37" name="Google Shape;1037;p114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150861" y="2179826"/>
            <a:ext cx="3736340" cy="26138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8484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FE5AC4-0D1F-4F75-AFEA-330077665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771" y="11071"/>
            <a:ext cx="4306881" cy="1037546"/>
          </a:xfrm>
        </p:spPr>
        <p:txBody>
          <a:bodyPr>
            <a:normAutofit fontScale="90000"/>
          </a:bodyPr>
          <a:lstStyle/>
          <a:p>
            <a:r>
              <a:rPr lang="en-US" sz="3200" b="1" dirty="0"/>
              <a:t>Virginia Offshore Wind</a:t>
            </a:r>
            <a:r>
              <a:rPr lang="en-US" dirty="0"/>
              <a:t/>
            </a:r>
            <a:br>
              <a:rPr lang="en-US" dirty="0"/>
            </a:br>
            <a:r>
              <a:rPr lang="en-US" sz="2400" dirty="0"/>
              <a:t>Timeline and Milestones</a:t>
            </a:r>
            <a:endParaRPr lang="en-US" dirty="0"/>
          </a:p>
        </p:txBody>
      </p:sp>
      <p:sp>
        <p:nvSpPr>
          <p:cNvPr id="8" name="Google Shape;909;p103">
            <a:extLst>
              <a:ext uri="{FF2B5EF4-FFF2-40B4-BE49-F238E27FC236}">
                <a16:creationId xmlns:a16="http://schemas.microsoft.com/office/drawing/2014/main" id="{A0B7FC7D-D8B7-437D-8C50-F81EF98D35AB}"/>
              </a:ext>
            </a:extLst>
          </p:cNvPr>
          <p:cNvSpPr txBox="1"/>
          <p:nvPr/>
        </p:nvSpPr>
        <p:spPr>
          <a:xfrm>
            <a:off x="0" y="5669280"/>
            <a:ext cx="12192000" cy="1188720"/>
          </a:xfrm>
          <a:prstGeom prst="rect">
            <a:avLst/>
          </a:prstGeom>
          <a:solidFill>
            <a:srgbClr val="0077D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" name="Google Shape;910;p103">
            <a:extLst>
              <a:ext uri="{FF2B5EF4-FFF2-40B4-BE49-F238E27FC236}">
                <a16:creationId xmlns:a16="http://schemas.microsoft.com/office/drawing/2014/main" id="{853F9313-0EAB-4CA9-B561-806BF366F1EB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96600" y="5768340"/>
            <a:ext cx="990600" cy="990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911;p103">
            <a:extLst>
              <a:ext uri="{FF2B5EF4-FFF2-40B4-BE49-F238E27FC236}">
                <a16:creationId xmlns:a16="http://schemas.microsoft.com/office/drawing/2014/main" id="{9354B737-6C38-4E2C-9DF3-8F551843382F}"/>
              </a:ext>
            </a:extLst>
          </p:cNvPr>
          <p:cNvPicPr preferRelativeResize="0"/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4013" y="5826484"/>
            <a:ext cx="1556068" cy="87431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</p:pic>
      <p:sp>
        <p:nvSpPr>
          <p:cNvPr id="11" name="Google Shape;912;p103">
            <a:extLst>
              <a:ext uri="{FF2B5EF4-FFF2-40B4-BE49-F238E27FC236}">
                <a16:creationId xmlns:a16="http://schemas.microsoft.com/office/drawing/2014/main" id="{F819E7E0-4368-4446-AA80-DFCD73F3823D}"/>
              </a:ext>
            </a:extLst>
          </p:cNvPr>
          <p:cNvSpPr txBox="1"/>
          <p:nvPr/>
        </p:nvSpPr>
        <p:spPr>
          <a:xfrm>
            <a:off x="4655819" y="5780488"/>
            <a:ext cx="3609291" cy="1015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  <a:tabLst/>
              <a:defRPr/>
            </a:pPr>
            <a:r>
              <a:rPr kumimoji="0" lang="en-US" sz="3000" b="1" i="1" u="none" strike="noStrike" kern="0" cap="sm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lean Energy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  <a:tabLst/>
              <a:defRPr/>
            </a:pPr>
            <a:r>
              <a:rPr kumimoji="0" lang="en-US" sz="3000" b="1" i="1" u="none" strike="noStrike" kern="0" cap="sm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irginia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48E4EC52-8B81-4C6A-9D02-C770F2D603F3}"/>
              </a:ext>
            </a:extLst>
          </p:cNvPr>
          <p:cNvCxnSpPr/>
          <p:nvPr/>
        </p:nvCxnSpPr>
        <p:spPr>
          <a:xfrm>
            <a:off x="618477" y="3509275"/>
            <a:ext cx="11150353" cy="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Group 68">
            <a:extLst>
              <a:ext uri="{FF2B5EF4-FFF2-40B4-BE49-F238E27FC236}">
                <a16:creationId xmlns:a16="http://schemas.microsoft.com/office/drawing/2014/main" id="{6D5165C6-A458-449C-8130-92F56EB80CA0}"/>
              </a:ext>
            </a:extLst>
          </p:cNvPr>
          <p:cNvGrpSpPr/>
          <p:nvPr/>
        </p:nvGrpSpPr>
        <p:grpSpPr>
          <a:xfrm>
            <a:off x="262036" y="233992"/>
            <a:ext cx="11836742" cy="5237678"/>
            <a:chOff x="262036" y="233992"/>
            <a:chExt cx="11836742" cy="523767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6A347B5-2A80-4E35-92B0-001126C1A563}"/>
                </a:ext>
              </a:extLst>
            </p:cNvPr>
            <p:cNvSpPr/>
            <p:nvPr/>
          </p:nvSpPr>
          <p:spPr>
            <a:xfrm>
              <a:off x="262036" y="1501667"/>
              <a:ext cx="1211658" cy="14619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09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EM and VA convene Renewable Energy Task to identify OSW lease areas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BE7CC48-1BC6-4A85-85E8-2E5F529E1792}"/>
                </a:ext>
              </a:extLst>
            </p:cNvPr>
            <p:cNvCxnSpPr>
              <a:cxnSpLocks/>
            </p:cNvCxnSpPr>
            <p:nvPr/>
          </p:nvCxnSpPr>
          <p:spPr>
            <a:xfrm>
              <a:off x="618477" y="3097203"/>
              <a:ext cx="0" cy="75238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27883C2-557A-4731-B347-308B22EDA03C}"/>
                </a:ext>
              </a:extLst>
            </p:cNvPr>
            <p:cNvCxnSpPr>
              <a:cxnSpLocks/>
            </p:cNvCxnSpPr>
            <p:nvPr/>
          </p:nvCxnSpPr>
          <p:spPr>
            <a:xfrm>
              <a:off x="1072703" y="3473394"/>
              <a:ext cx="0" cy="75238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1DCDD9B-863E-405F-B7AA-F64560F6C2A7}"/>
                </a:ext>
              </a:extLst>
            </p:cNvPr>
            <p:cNvSpPr/>
            <p:nvPr/>
          </p:nvSpPr>
          <p:spPr>
            <a:xfrm>
              <a:off x="8638333" y="3983453"/>
              <a:ext cx="1800322" cy="13542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anuary ‘20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rsted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signs lease at PMT for up to 40 acre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emens Gamesa will partner to provide the turbines for VCWEA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C4AA6B14-45AD-4FCF-A1EE-7380FF41882F}"/>
                </a:ext>
              </a:extLst>
            </p:cNvPr>
            <p:cNvCxnSpPr>
              <a:cxnSpLocks/>
            </p:cNvCxnSpPr>
            <p:nvPr/>
          </p:nvCxnSpPr>
          <p:spPr>
            <a:xfrm>
              <a:off x="9398487" y="3487820"/>
              <a:ext cx="0" cy="52203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0F9BAE8-7B4D-49CD-9786-8F1C4C00BC6F}"/>
                </a:ext>
              </a:extLst>
            </p:cNvPr>
            <p:cNvCxnSpPr>
              <a:cxnSpLocks/>
            </p:cNvCxnSpPr>
            <p:nvPr/>
          </p:nvCxnSpPr>
          <p:spPr>
            <a:xfrm>
              <a:off x="10469722" y="2756893"/>
              <a:ext cx="0" cy="75238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50400FF-FF20-4F28-8B81-24D051794E55}"/>
                </a:ext>
              </a:extLst>
            </p:cNvPr>
            <p:cNvSpPr/>
            <p:nvPr/>
          </p:nvSpPr>
          <p:spPr>
            <a:xfrm>
              <a:off x="9789103" y="1626556"/>
              <a:ext cx="1361237" cy="1092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pril ‘20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overnor Northam signs VCEA and OSW legislation: 5200MW by 2034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1D5A421-9EFB-4CFA-97CA-37768B9EBE37}"/>
                </a:ext>
              </a:extLst>
            </p:cNvPr>
            <p:cNvSpPr/>
            <p:nvPr/>
          </p:nvSpPr>
          <p:spPr>
            <a:xfrm>
              <a:off x="406085" y="4219119"/>
              <a:ext cx="1900014" cy="1092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0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irginia creates the Virginia Offshore Wind Development Authority (VOWDA)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B82E9DFB-7832-47A5-AEC0-D5163A3A3AF7}"/>
                </a:ext>
              </a:extLst>
            </p:cNvPr>
            <p:cNvSpPr/>
            <p:nvPr/>
          </p:nvSpPr>
          <p:spPr>
            <a:xfrm>
              <a:off x="1741155" y="2029751"/>
              <a:ext cx="1870228" cy="1092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1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overnor McDonnell announces that Virginia will bid for an offshore lease site BOEM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0F9FEBB-3B11-484A-A97E-54EC71ECB584}"/>
                </a:ext>
              </a:extLst>
            </p:cNvPr>
            <p:cNvCxnSpPr>
              <a:cxnSpLocks/>
            </p:cNvCxnSpPr>
            <p:nvPr/>
          </p:nvCxnSpPr>
          <p:spPr>
            <a:xfrm>
              <a:off x="2279450" y="3111629"/>
              <a:ext cx="0" cy="37619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9A50AA0B-7B14-42FF-A8CD-C12707098EFE}"/>
                </a:ext>
              </a:extLst>
            </p:cNvPr>
            <p:cNvCxnSpPr>
              <a:cxnSpLocks/>
            </p:cNvCxnSpPr>
            <p:nvPr/>
          </p:nvCxnSpPr>
          <p:spPr>
            <a:xfrm>
              <a:off x="3117539" y="3509275"/>
              <a:ext cx="0" cy="95619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850F571-23D4-4606-84E5-75354593D1F2}"/>
                </a:ext>
              </a:extLst>
            </p:cNvPr>
            <p:cNvCxnSpPr>
              <a:cxnSpLocks/>
            </p:cNvCxnSpPr>
            <p:nvPr/>
          </p:nvCxnSpPr>
          <p:spPr>
            <a:xfrm>
              <a:off x="4158667" y="2530141"/>
              <a:ext cx="0" cy="97913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131E8E8-844D-4069-A3FE-449293D2E55F}"/>
                </a:ext>
              </a:extLst>
            </p:cNvPr>
            <p:cNvCxnSpPr>
              <a:cxnSpLocks/>
            </p:cNvCxnSpPr>
            <p:nvPr/>
          </p:nvCxnSpPr>
          <p:spPr>
            <a:xfrm>
              <a:off x="8190391" y="3010830"/>
              <a:ext cx="0" cy="45067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ABD8C63-82A1-415A-978F-AA8809CAA2E4}"/>
                </a:ext>
              </a:extLst>
            </p:cNvPr>
            <p:cNvSpPr/>
            <p:nvPr/>
          </p:nvSpPr>
          <p:spPr>
            <a:xfrm>
              <a:off x="2676269" y="4523138"/>
              <a:ext cx="1211658" cy="9079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3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ominion wins auction for VCWEA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E11657F-0782-4D5F-BB57-D9E90443F063}"/>
                </a:ext>
              </a:extLst>
            </p:cNvPr>
            <p:cNvSpPr/>
            <p:nvPr/>
          </p:nvSpPr>
          <p:spPr>
            <a:xfrm>
              <a:off x="7404721" y="233992"/>
              <a:ext cx="1782395" cy="25391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ptember ‘19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overnor Northam signs EO43: 30% renewable electricity by 2030 &amp; 100% by 2050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EM fully permits CVOW: only permitted project in federal water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ominion announces largest project in NA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7C831513-B188-4B16-B39C-2863E9F0DD8D}"/>
                </a:ext>
              </a:extLst>
            </p:cNvPr>
            <p:cNvSpPr/>
            <p:nvPr/>
          </p:nvSpPr>
          <p:spPr>
            <a:xfrm>
              <a:off x="5655022" y="1604215"/>
              <a:ext cx="1609990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8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overnor Northam signs legislation authorizing CVOW construction</a:t>
              </a:r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DE4B8373-A314-4A72-B6C3-9FE9CD912675}"/>
                </a:ext>
              </a:extLst>
            </p:cNvPr>
            <p:cNvCxnSpPr>
              <a:cxnSpLocks/>
            </p:cNvCxnSpPr>
            <p:nvPr/>
          </p:nvCxnSpPr>
          <p:spPr>
            <a:xfrm>
              <a:off x="6122118" y="2719163"/>
              <a:ext cx="0" cy="75238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F37CA809-67F5-42DB-852B-7154EF0F187F}"/>
                </a:ext>
              </a:extLst>
            </p:cNvPr>
            <p:cNvSpPr/>
            <p:nvPr/>
          </p:nvSpPr>
          <p:spPr>
            <a:xfrm>
              <a:off x="3466473" y="1126323"/>
              <a:ext cx="1782395" cy="13542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5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OEM issues first research lease to DMME (site of CVOW)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MME releases Port Readiness Study</a:t>
              </a: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A36723D8-E942-4DF8-A6EE-54EAB1AF7BB7}"/>
                </a:ext>
              </a:extLst>
            </p:cNvPr>
            <p:cNvCxnSpPr>
              <a:cxnSpLocks/>
            </p:cNvCxnSpPr>
            <p:nvPr/>
          </p:nvCxnSpPr>
          <p:spPr>
            <a:xfrm>
              <a:off x="7404722" y="3471545"/>
              <a:ext cx="0" cy="42464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7DFB06C-DAA8-4597-BC19-3C81D7A105E1}"/>
                </a:ext>
              </a:extLst>
            </p:cNvPr>
            <p:cNvSpPr/>
            <p:nvPr/>
          </p:nvSpPr>
          <p:spPr>
            <a:xfrm>
              <a:off x="6800028" y="3995427"/>
              <a:ext cx="1539419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uly ‘19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nshore construction of CVOW begins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AEF5DE47-2666-4E0F-AD89-D2875BEB159A}"/>
                </a:ext>
              </a:extLst>
            </p:cNvPr>
            <p:cNvSpPr/>
            <p:nvPr/>
          </p:nvSpPr>
          <p:spPr>
            <a:xfrm>
              <a:off x="4515652" y="4394452"/>
              <a:ext cx="1281463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7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astal Virginia Offshore Wind (CVOW) project announced</a:t>
              </a:r>
            </a:p>
          </p:txBody>
        </p: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8A90AC85-81A6-4B36-928E-0B9FC501AD87}"/>
                </a:ext>
              </a:extLst>
            </p:cNvPr>
            <p:cNvCxnSpPr>
              <a:cxnSpLocks/>
            </p:cNvCxnSpPr>
            <p:nvPr/>
          </p:nvCxnSpPr>
          <p:spPr>
            <a:xfrm>
              <a:off x="5066193" y="3531569"/>
              <a:ext cx="0" cy="75238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86BB2837-ED03-495E-8CB8-BA948CFF8CBE}"/>
                </a:ext>
              </a:extLst>
            </p:cNvPr>
            <p:cNvCxnSpPr>
              <a:cxnSpLocks/>
            </p:cNvCxnSpPr>
            <p:nvPr/>
          </p:nvCxnSpPr>
          <p:spPr>
            <a:xfrm>
              <a:off x="11391900" y="3487820"/>
              <a:ext cx="0" cy="50760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F04FEFE-96E2-4D33-85FA-ECDD7F1ECDDB}"/>
                </a:ext>
              </a:extLst>
            </p:cNvPr>
            <p:cNvSpPr/>
            <p:nvPr/>
          </p:nvSpPr>
          <p:spPr>
            <a:xfrm>
              <a:off x="10737541" y="4033879"/>
              <a:ext cx="1361237" cy="9079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une ‘20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VOW turbines installed – 1</a:t>
              </a:r>
              <a:r>
                <a:rPr kumimoji="0" lang="en-US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in federal wat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286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5669280"/>
            <a:ext cx="12192000" cy="1188720"/>
          </a:xfrm>
          <a:prstGeom prst="rect">
            <a:avLst/>
          </a:prstGeom>
          <a:solidFill>
            <a:srgbClr val="0077D0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6600" y="5768340"/>
            <a:ext cx="990600" cy="990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013" y="5826484"/>
            <a:ext cx="1556068" cy="87431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4655820" y="5780488"/>
            <a:ext cx="3495040" cy="1015663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>
                <a:rot lat="0" lon="0" rev="600000"/>
              </a:lightRig>
            </a:scene3d>
            <a:sp3d extrusionH="12700" contourW="12700">
              <a:bevelT w="12700"/>
            </a:sp3d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1" u="none" strike="noStrike" kern="1200" cap="small" spc="0" normalizeH="0" baseline="0" noProof="0" dirty="0">
                <a:ln w="952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Clean Energy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1" u="none" strike="noStrike" kern="1200" cap="small" spc="0" normalizeH="0" baseline="0" noProof="0" dirty="0">
                <a:ln w="9525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Virginia</a:t>
            </a:r>
          </a:p>
        </p:txBody>
      </p:sp>
      <p:sp>
        <p:nvSpPr>
          <p:cNvPr id="11" name="object 8"/>
          <p:cNvSpPr/>
          <p:nvPr/>
        </p:nvSpPr>
        <p:spPr>
          <a:xfrm>
            <a:off x="4036625" y="91891"/>
            <a:ext cx="7850575" cy="532141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35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9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51121" y="1325841"/>
            <a:ext cx="3117920" cy="2785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cial Lease Areas: Virginia and North Carolina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278255" y="568765"/>
            <a:ext cx="47359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Coastal Virginia Offshore Wind (CVOW)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</a:rPr>
              <a:t>Pilot &amp; Commercial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 flipH="1">
            <a:off x="10011754" y="3574472"/>
            <a:ext cx="14967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Kitty Hawk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127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4"/>
          <p:cNvSpPr txBox="1">
            <a:spLocks/>
          </p:cNvSpPr>
          <p:nvPr/>
        </p:nvSpPr>
        <p:spPr>
          <a:xfrm>
            <a:off x="584178" y="124141"/>
            <a:ext cx="11503152" cy="5786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67" b="1" i="0" kern="1200">
                <a:solidFill>
                  <a:srgbClr val="163C58"/>
                </a:solidFill>
                <a:latin typeface="Gill Sans MT" panose="020B0502020104020203" pitchFamily="34" charset="0"/>
                <a:ea typeface="+mj-ea"/>
                <a:cs typeface="Gill Sans MT" panose="020B050202010402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00" b="1" i="0" u="none" strike="noStrike" kern="1200" cap="none" spc="0" normalizeH="0" baseline="0" noProof="0" dirty="0">
                <a:ln>
                  <a:noFill/>
                </a:ln>
                <a:solidFill>
                  <a:srgbClr val="043D5B"/>
                </a:solidFill>
                <a:effectLst/>
                <a:uLnTx/>
                <a:uFillTx/>
                <a:latin typeface="Gill Sans MT" panose="020B0502020104020203" pitchFamily="34" charset="0"/>
                <a:ea typeface="+mj-ea"/>
              </a:rPr>
              <a:t>HAMPTON ROADS HARBOR</a:t>
            </a:r>
          </a:p>
        </p:txBody>
      </p:sp>
      <p:pic>
        <p:nvPicPr>
          <p:cNvPr id="1028" name="Picture 4" descr="https://powerpoint.officeapps.live.com/pods/GetClipboardImage.ashx?Id=26ef7960-d470-4bc9-807e-f9e919a03912&amp;DC=US6&amp;wdoverrides=GetClipboardImageEnabled:tru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655" y="0"/>
            <a:ext cx="12256655" cy="7012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33975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5"/>
          </p:nvPr>
        </p:nvSpPr>
        <p:spPr>
          <a:xfrm>
            <a:off x="4671317" y="-73891"/>
            <a:ext cx="7636011" cy="7523018"/>
          </a:xfrm>
          <a:solidFill>
            <a:srgbClr val="143347"/>
          </a:solidFill>
        </p:spPr>
        <p:txBody>
          <a:bodyPr/>
          <a:lstStyle/>
          <a:p>
            <a:endParaRPr lang="en-US" dirty="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r>
              <a:rPr lang="en-US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Post-Panamax</a:t>
            </a:r>
            <a:r>
              <a:rPr lang="en-US" dirty="0" smtClean="0">
                <a:solidFill>
                  <a:schemeClr val="bg1"/>
                </a:solidFill>
                <a:latin typeface="+mn-lt"/>
              </a:rPr>
              <a:t>:   Deepening to 55’</a:t>
            </a:r>
          </a:p>
          <a:p>
            <a:r>
              <a:rPr lang="en-US" dirty="0" smtClean="0">
                <a:solidFill>
                  <a:schemeClr val="bg1"/>
                </a:solidFill>
                <a:latin typeface="+mn-lt"/>
              </a:rPr>
              <a:t>18 </a:t>
            </a:r>
            <a:r>
              <a:rPr lang="en-US" dirty="0">
                <a:solidFill>
                  <a:schemeClr val="bg1"/>
                </a:solidFill>
                <a:latin typeface="+mn-lt"/>
              </a:rPr>
              <a:t>miles from open sea </a:t>
            </a:r>
            <a:r>
              <a:rPr lang="en-US" dirty="0" smtClean="0">
                <a:solidFill>
                  <a:schemeClr val="bg1"/>
                </a:solidFill>
                <a:latin typeface="+mn-lt"/>
              </a:rPr>
              <a:t>with </a:t>
            </a:r>
            <a:r>
              <a:rPr lang="en-US" b="1" u="sng" dirty="0" smtClean="0">
                <a:solidFill>
                  <a:schemeClr val="bg1"/>
                </a:solidFill>
                <a:latin typeface="+mn-lt"/>
              </a:rPr>
              <a:t>no </a:t>
            </a:r>
            <a:r>
              <a:rPr lang="en-US" b="1" u="sng" dirty="0">
                <a:solidFill>
                  <a:schemeClr val="bg1"/>
                </a:solidFill>
                <a:latin typeface="+mn-lt"/>
              </a:rPr>
              <a:t>overhead </a:t>
            </a:r>
            <a:r>
              <a:rPr lang="en-US" b="1" u="sng" dirty="0" smtClean="0">
                <a:solidFill>
                  <a:schemeClr val="bg1"/>
                </a:solidFill>
                <a:latin typeface="+mn-lt"/>
              </a:rPr>
              <a:t>obstructions</a:t>
            </a:r>
            <a:endParaRPr lang="en-US" b="1" u="sng" dirty="0">
              <a:solidFill>
                <a:schemeClr val="bg1"/>
              </a:solidFill>
              <a:latin typeface="+mn-lt"/>
            </a:endParaRPr>
          </a:p>
          <a:p>
            <a:r>
              <a:rPr lang="en-US" dirty="0">
                <a:solidFill>
                  <a:schemeClr val="bg1"/>
                </a:solidFill>
                <a:latin typeface="+mn-lt"/>
              </a:rPr>
              <a:t>Central </a:t>
            </a:r>
            <a:r>
              <a:rPr lang="en-US" dirty="0" smtClean="0">
                <a:solidFill>
                  <a:schemeClr val="bg1"/>
                </a:solidFill>
                <a:latin typeface="+mn-lt"/>
              </a:rPr>
              <a:t>location </a:t>
            </a:r>
          </a:p>
          <a:p>
            <a:r>
              <a:rPr lang="en-US" dirty="0">
                <a:solidFill>
                  <a:schemeClr val="bg1"/>
                </a:solidFill>
                <a:latin typeface="+mn-lt"/>
              </a:rPr>
              <a:t>Stellar </a:t>
            </a:r>
            <a:r>
              <a:rPr lang="en-US" dirty="0" smtClean="0">
                <a:solidFill>
                  <a:schemeClr val="bg1"/>
                </a:solidFill>
                <a:latin typeface="+mn-lt"/>
              </a:rPr>
              <a:t>workforce</a:t>
            </a:r>
            <a:endParaRPr lang="en-US" dirty="0">
              <a:solidFill>
                <a:schemeClr val="bg1"/>
              </a:solidFill>
              <a:latin typeface="+mn-lt"/>
            </a:endParaRPr>
          </a:p>
          <a:p>
            <a:r>
              <a:rPr lang="en-US" dirty="0" smtClean="0">
                <a:solidFill>
                  <a:schemeClr val="bg1"/>
                </a:solidFill>
                <a:latin typeface="+mn-lt"/>
              </a:rPr>
              <a:t>Strong </a:t>
            </a:r>
            <a:r>
              <a:rPr lang="en-US" dirty="0">
                <a:solidFill>
                  <a:schemeClr val="bg1"/>
                </a:solidFill>
                <a:latin typeface="+mn-lt"/>
              </a:rPr>
              <a:t>terminal infrastructure and robust intermodal connections</a:t>
            </a:r>
          </a:p>
          <a:p>
            <a:r>
              <a:rPr lang="en-US" dirty="0" smtClean="0">
                <a:solidFill>
                  <a:schemeClr val="bg1"/>
                </a:solidFill>
                <a:latin typeface="+mn-lt"/>
              </a:rPr>
              <a:t>Largest marine industrial center in the country</a:t>
            </a:r>
            <a:endParaRPr lang="en-US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436" t="866" r="26343"/>
          <a:stretch/>
        </p:blipFill>
        <p:spPr>
          <a:xfrm>
            <a:off x="0" y="-115562"/>
            <a:ext cx="4747491" cy="10353146"/>
          </a:xfr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2454" y="317427"/>
            <a:ext cx="4186409" cy="578683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latin typeface="+mj-lt"/>
              </a:rPr>
              <a:t>Advantage</a:t>
            </a:r>
            <a:r>
              <a:rPr lang="en-US" dirty="0" smtClean="0"/>
              <a:t>: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Virginia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675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large ship in a body of water&#10;&#10;Description automatically generated">
            <a:extLst>
              <a:ext uri="{FF2B5EF4-FFF2-40B4-BE49-F238E27FC236}">
                <a16:creationId xmlns:a16="http://schemas.microsoft.com/office/drawing/2014/main" id="{5D1D5443-993D-4754-9537-E297E482C52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38" r="5278"/>
          <a:stretch/>
        </p:blipFill>
        <p:spPr>
          <a:xfrm>
            <a:off x="6908728" y="1370496"/>
            <a:ext cx="5053198" cy="3589651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960FBC9-6B04-4734-B07E-6FDF484ED712}"/>
              </a:ext>
            </a:extLst>
          </p:cNvPr>
          <p:cNvSpPr txBox="1"/>
          <p:nvPr/>
        </p:nvSpPr>
        <p:spPr>
          <a:xfrm>
            <a:off x="1751170" y="5424073"/>
            <a:ext cx="8686799" cy="861319"/>
          </a:xfrm>
          <a:prstGeom prst="rect">
            <a:avLst/>
          </a:prstGeom>
          <a:solidFill>
            <a:srgbClr val="1D4F91"/>
          </a:solidFill>
        </p:spPr>
        <p:txBody>
          <a:bodyPr wrap="square" rtlCol="0" anchor="ctr" anchorCtr="1">
            <a:noAutofit/>
          </a:bodyPr>
          <a:lstStyle/>
          <a:p>
            <a:pPr marL="0" marR="0" lvl="0" indent="0" algn="ctr" defTabSz="4571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rst steel in the water – Memorial Da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158232"/>
            <a:ext cx="8686800" cy="745201"/>
          </a:xfrm>
        </p:spPr>
        <p:txBody>
          <a:bodyPr>
            <a:normAutofit fontScale="90000"/>
          </a:bodyPr>
          <a:lstStyle/>
          <a:p>
            <a:r>
              <a:rPr lang="en-US" sz="2900" dirty="0">
                <a:solidFill>
                  <a:schemeClr val="tx1"/>
                </a:solidFill>
              </a:rPr>
              <a:t>Coastal Virginia Offshore Wind (CVOW) Pilot </a:t>
            </a:r>
            <a:r>
              <a:rPr lang="en-US" sz="2800" dirty="0">
                <a:solidFill>
                  <a:schemeClr val="tx1"/>
                </a:solidFill>
              </a:rPr>
              <a:t/>
            </a:r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200" i="1" dirty="0">
                <a:solidFill>
                  <a:schemeClr val="tx1"/>
                </a:solidFill>
              </a:rPr>
              <a:t>Foundation Installation</a:t>
            </a:r>
            <a:endParaRPr lang="en-US" sz="3200" i="1" dirty="0">
              <a:solidFill>
                <a:schemeClr val="tx1"/>
              </a:solidFill>
            </a:endParaRPr>
          </a:p>
        </p:txBody>
      </p:sp>
      <p:pic>
        <p:nvPicPr>
          <p:cNvPr id="12" name="Picture 11" descr="A ship in a body of water&#10;&#10;Description automatically generated">
            <a:extLst>
              <a:ext uri="{FF2B5EF4-FFF2-40B4-BE49-F238E27FC236}">
                <a16:creationId xmlns:a16="http://schemas.microsoft.com/office/drawing/2014/main" id="{066D39CA-5D09-42CF-96D3-4D0964D686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923" y="1367359"/>
            <a:ext cx="6381601" cy="3589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567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158232"/>
            <a:ext cx="8686800" cy="745201"/>
          </a:xfrm>
        </p:spPr>
        <p:txBody>
          <a:bodyPr>
            <a:normAutofit fontScale="90000"/>
          </a:bodyPr>
          <a:lstStyle/>
          <a:p>
            <a:r>
              <a:rPr lang="en-US" sz="2900" dirty="0">
                <a:solidFill>
                  <a:schemeClr val="tx1"/>
                </a:solidFill>
              </a:rPr>
              <a:t>Coastal Virginia Offshore Wind (CVOW) Pilot </a:t>
            </a:r>
            <a:r>
              <a:rPr lang="en-US" sz="2800" dirty="0">
                <a:solidFill>
                  <a:schemeClr val="tx1"/>
                </a:solidFill>
              </a:rPr>
              <a:t/>
            </a:r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200" i="1" dirty="0">
                <a:solidFill>
                  <a:schemeClr val="tx1"/>
                </a:solidFill>
              </a:rPr>
              <a:t>Wind Turbine Installation</a:t>
            </a:r>
            <a:endParaRPr lang="en-US" sz="3200" i="1" dirty="0">
              <a:solidFill>
                <a:schemeClr val="tx1"/>
              </a:solidFill>
            </a:endParaRPr>
          </a:p>
        </p:txBody>
      </p:sp>
      <p:pic>
        <p:nvPicPr>
          <p:cNvPr id="4" name="Picture 3" descr="A large ship in a body of water&#10;&#10;Description automatically generated">
            <a:extLst>
              <a:ext uri="{FF2B5EF4-FFF2-40B4-BE49-F238E27FC236}">
                <a16:creationId xmlns:a16="http://schemas.microsoft.com/office/drawing/2014/main" id="{7A6ABA79-A23C-4FE4-B84C-5BE3D2719CE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690" b="13176"/>
          <a:stretch/>
        </p:blipFill>
        <p:spPr>
          <a:xfrm>
            <a:off x="1610556" y="1305021"/>
            <a:ext cx="1940973" cy="3471169"/>
          </a:xfrm>
          <a:prstGeom prst="rect">
            <a:avLst/>
          </a:prstGeom>
        </p:spPr>
      </p:pic>
      <p:pic>
        <p:nvPicPr>
          <p:cNvPr id="11" name="Picture 10" descr="A picture containing outdoor, crane, light, large&#10;&#10;Description automatically generated">
            <a:extLst>
              <a:ext uri="{FF2B5EF4-FFF2-40B4-BE49-F238E27FC236}">
                <a16:creationId xmlns:a16="http://schemas.microsoft.com/office/drawing/2014/main" id="{47FD0595-47C9-41AE-8406-566B5EAC56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8662" y="1305021"/>
            <a:ext cx="2523477" cy="336463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DA41447-AD85-48C5-997F-F4BFB0B239E8}"/>
              </a:ext>
            </a:extLst>
          </p:cNvPr>
          <p:cNvSpPr txBox="1"/>
          <p:nvPr/>
        </p:nvSpPr>
        <p:spPr>
          <a:xfrm>
            <a:off x="1751170" y="5335295"/>
            <a:ext cx="8686799" cy="861319"/>
          </a:xfrm>
          <a:prstGeom prst="rect">
            <a:avLst/>
          </a:prstGeom>
          <a:solidFill>
            <a:srgbClr val="1D4F91"/>
          </a:solidFill>
        </p:spPr>
        <p:txBody>
          <a:bodyPr wrap="square" rtlCol="0" anchor="ctr" anchorCtr="1">
            <a:noAutofit/>
          </a:bodyPr>
          <a:lstStyle/>
          <a:p>
            <a:pPr marL="0" marR="0" lvl="0" indent="0" algn="ctr" defTabSz="4571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ower, Nacelle and Blade Installation</a:t>
            </a:r>
          </a:p>
        </p:txBody>
      </p:sp>
      <p:pic>
        <p:nvPicPr>
          <p:cNvPr id="8" name="Picture 7" descr="A picture containing boat, transport, crane, water&#10;&#10;Description automatically generated">
            <a:extLst>
              <a:ext uri="{FF2B5EF4-FFF2-40B4-BE49-F238E27FC236}">
                <a16:creationId xmlns:a16="http://schemas.microsoft.com/office/drawing/2014/main" id="{4D06D076-15DB-480B-9264-EAF42ACCEC4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594" r="10698"/>
          <a:stretch/>
        </p:blipFill>
        <p:spPr>
          <a:xfrm>
            <a:off x="3662926" y="1305020"/>
            <a:ext cx="4224339" cy="3471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524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158232"/>
            <a:ext cx="8686800" cy="745201"/>
          </a:xfrm>
        </p:spPr>
        <p:txBody>
          <a:bodyPr>
            <a:normAutofit fontScale="90000"/>
          </a:bodyPr>
          <a:lstStyle/>
          <a:p>
            <a:r>
              <a:rPr lang="en-US" sz="2900" dirty="0">
                <a:solidFill>
                  <a:schemeClr val="tx1"/>
                </a:solidFill>
              </a:rPr>
              <a:t>Coastal Virginia Offshore Wind (CVOW) Pilot </a:t>
            </a:r>
            <a:r>
              <a:rPr lang="en-US" sz="2800" dirty="0">
                <a:solidFill>
                  <a:schemeClr val="tx1"/>
                </a:solidFill>
              </a:rPr>
              <a:t/>
            </a:r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200" i="1" dirty="0">
                <a:solidFill>
                  <a:schemeClr val="tx1"/>
                </a:solidFill>
              </a:rPr>
              <a:t>First Turbines Installed in Federal Waters</a:t>
            </a:r>
            <a:endParaRPr lang="en-US" sz="3200" i="1" dirty="0">
              <a:solidFill>
                <a:schemeClr val="tx1"/>
              </a:solidFill>
            </a:endParaRPr>
          </a:p>
        </p:txBody>
      </p:sp>
      <p:pic>
        <p:nvPicPr>
          <p:cNvPr id="13" name="Picture 12" descr="A windmill next to a body of water&#10;&#10;Description automatically generated">
            <a:extLst>
              <a:ext uri="{FF2B5EF4-FFF2-40B4-BE49-F238E27FC236}">
                <a16:creationId xmlns:a16="http://schemas.microsoft.com/office/drawing/2014/main" id="{821BA383-2820-4DCF-83A1-F5FED0C1C4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9113" y="1168993"/>
            <a:ext cx="5717942" cy="3811961"/>
          </a:xfrm>
          <a:prstGeom prst="rect">
            <a:avLst/>
          </a:prstGeom>
        </p:spPr>
      </p:pic>
      <p:pic>
        <p:nvPicPr>
          <p:cNvPr id="17" name="Picture 16" descr="A large ship in a body of water&#10;&#10;Description automatically generated">
            <a:extLst>
              <a:ext uri="{FF2B5EF4-FFF2-40B4-BE49-F238E27FC236}">
                <a16:creationId xmlns:a16="http://schemas.microsoft.com/office/drawing/2014/main" id="{8CC470F8-9846-4561-A80F-32B05D4603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150" r="11834"/>
          <a:stretch/>
        </p:blipFill>
        <p:spPr>
          <a:xfrm>
            <a:off x="1116530" y="1168992"/>
            <a:ext cx="3965275" cy="381196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8E93CF7-34D0-4418-BFC7-C8FE4B0A06A5}"/>
              </a:ext>
            </a:extLst>
          </p:cNvPr>
          <p:cNvSpPr txBox="1"/>
          <p:nvPr/>
        </p:nvSpPr>
        <p:spPr>
          <a:xfrm>
            <a:off x="1751170" y="5246515"/>
            <a:ext cx="8686799" cy="861319"/>
          </a:xfrm>
          <a:prstGeom prst="rect">
            <a:avLst/>
          </a:prstGeom>
          <a:solidFill>
            <a:srgbClr val="1D4F91"/>
          </a:solidFill>
        </p:spPr>
        <p:txBody>
          <a:bodyPr wrap="square" rtlCol="0" anchor="ctr" anchorCtr="1">
            <a:noAutofit/>
          </a:bodyPr>
          <a:lstStyle/>
          <a:p>
            <a:pPr marL="0" marR="0" lvl="0" indent="0" algn="ctr" defTabSz="4571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rst wind turbine mechanically complete – June 20</a:t>
            </a:r>
            <a:r>
              <a:rPr kumimoji="0" lang="en-US" sz="24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</a:p>
          <a:p>
            <a:pPr marL="0" marR="0" lvl="0" indent="0" algn="ctr" defTabSz="4571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cond wind turbine mechanically complete – June 26</a:t>
            </a:r>
            <a:r>
              <a:rPr kumimoji="0" lang="en-US" sz="24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7301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_TAG" val="&lt;presentationLibrarian xmlns:xsd=&quot;http://www.w3.org/2001/XMLSchema&quot; xmlns:xsi=&quot;http://www.w3.org/2001/XMLSchema-instance&quot;&gt;&lt;library environment=&quot;CN-N11&quot; shortName=&quot;pv&quot; /&gt;&lt;file id=&quot;1301&quot; lastModDate=&quot;2019-12-06T16:00:15-05:00&quot; contentType=&quot;1&quot; /&gt;&lt;slide id=&quot;2134&quot; pptSlideId=&quot;0&quot; lastModDate=&quot;2019-12-06T16:00:15-05:00&quot; vpEditLinkId=&quot;-1&quot; /&gt;&lt;/presentationLibrarian&gt;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e Port of Virginia Theme">
  <a:themeElements>
    <a:clrScheme name="The Port of Virginia Theme 1">
      <a:dk1>
        <a:srgbClr val="003C5B"/>
      </a:dk1>
      <a:lt1>
        <a:srgbClr val="FFFFFF"/>
      </a:lt1>
      <a:dk2>
        <a:srgbClr val="00ADBB"/>
      </a:dk2>
      <a:lt2>
        <a:srgbClr val="E7E6E6"/>
      </a:lt2>
      <a:accent1>
        <a:srgbClr val="00958E"/>
      </a:accent1>
      <a:accent2>
        <a:srgbClr val="146AA4"/>
      </a:accent2>
      <a:accent3>
        <a:srgbClr val="DE5D56"/>
      </a:accent3>
      <a:accent4>
        <a:srgbClr val="C8CBD0"/>
      </a:accent4>
      <a:accent5>
        <a:srgbClr val="A0A3A8"/>
      </a:accent5>
      <a:accent6>
        <a:srgbClr val="7B7C82"/>
      </a:accent6>
      <a:hlink>
        <a:srgbClr val="535458"/>
      </a:hlink>
      <a:folHlink>
        <a:srgbClr val="00ACB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V PowerPoint Theme.potx" id="{55375806-F969-440E-97BD-BA3869ADBCA3}" vid="{5B353DC3-2B75-40C8-A05E-36CF7235A322}"/>
    </a:ext>
  </a:extLst>
</a:theme>
</file>

<file path=ppt/theme/theme4.xml><?xml version="1.0" encoding="utf-8"?>
<a:theme xmlns:a="http://schemas.openxmlformats.org/drawingml/2006/main" name="FROC Committee Slide Dec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34</TotalTime>
  <Words>505</Words>
  <Application>Microsoft Office PowerPoint</Application>
  <PresentationFormat>Widescreen</PresentationFormat>
  <Paragraphs>77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5" baseType="lpstr">
      <vt:lpstr>Aharoni</vt:lpstr>
      <vt:lpstr>Arial</vt:lpstr>
      <vt:lpstr>Calibri</vt:lpstr>
      <vt:lpstr>Calibri Light</vt:lpstr>
      <vt:lpstr>Gill Sans MT</vt:lpstr>
      <vt:lpstr>Open Sans</vt:lpstr>
      <vt:lpstr>Rockwell</vt:lpstr>
      <vt:lpstr>System Font Regular</vt:lpstr>
      <vt:lpstr>Times New Roman</vt:lpstr>
      <vt:lpstr>Wingdings</vt:lpstr>
      <vt:lpstr>Office Theme</vt:lpstr>
      <vt:lpstr>Simple Light</vt:lpstr>
      <vt:lpstr>The Port of Virginia Theme</vt:lpstr>
      <vt:lpstr>FROC Committee Slide Deck</vt:lpstr>
      <vt:lpstr>think-cell Slide</vt:lpstr>
      <vt:lpstr>PowerPoint Presentation</vt:lpstr>
      <vt:lpstr>2020 Virginia Clean Economy Act</vt:lpstr>
      <vt:lpstr>Virginia Offshore Wind Timeline and Milestones</vt:lpstr>
      <vt:lpstr>PowerPoint Presentation</vt:lpstr>
      <vt:lpstr>PowerPoint Presentation</vt:lpstr>
      <vt:lpstr>Advantage: Virginia</vt:lpstr>
      <vt:lpstr>Coastal Virginia Offshore Wind (CVOW) Pilot  Foundation Installation</vt:lpstr>
      <vt:lpstr>Coastal Virginia Offshore Wind (CVOW) Pilot  Wind Turbine Installation</vt:lpstr>
      <vt:lpstr>Coastal Virginia Offshore Wind (CVOW) Pilot  First Turbines Installed in Federal Waters</vt:lpstr>
      <vt:lpstr>Transmission</vt:lpstr>
    </vt:vector>
  </TitlesOfParts>
  <Company>Virginia IT Infrastructure Partnershi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TA Program</dc:creator>
  <cp:lastModifiedBy>VITA Program</cp:lastModifiedBy>
  <cp:revision>9</cp:revision>
  <dcterms:created xsi:type="dcterms:W3CDTF">2020-09-21T15:15:23Z</dcterms:created>
  <dcterms:modified xsi:type="dcterms:W3CDTF">2020-09-21T21:12:38Z</dcterms:modified>
</cp:coreProperties>
</file>